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5"/>
  </p:notesMasterIdLst>
  <p:sldIdLst>
    <p:sldId id="2143677667" r:id="rId5"/>
    <p:sldId id="256" r:id="rId6"/>
    <p:sldId id="2143677651" r:id="rId7"/>
    <p:sldId id="2143677666" r:id="rId8"/>
    <p:sldId id="4162" r:id="rId9"/>
    <p:sldId id="4173" r:id="rId10"/>
    <p:sldId id="4165" r:id="rId11"/>
    <p:sldId id="4166" r:id="rId12"/>
    <p:sldId id="4177" r:id="rId13"/>
    <p:sldId id="2143677668" r:id="rId14"/>
    <p:sldId id="2143677669" r:id="rId15"/>
    <p:sldId id="4168" r:id="rId16"/>
    <p:sldId id="4171" r:id="rId17"/>
    <p:sldId id="4169" r:id="rId18"/>
    <p:sldId id="4170" r:id="rId19"/>
    <p:sldId id="4167" r:id="rId20"/>
    <p:sldId id="4174" r:id="rId21"/>
    <p:sldId id="4175" r:id="rId22"/>
    <p:sldId id="4179" r:id="rId23"/>
    <p:sldId id="2143677654" r:id="rId24"/>
    <p:sldId id="2143677665" r:id="rId25"/>
    <p:sldId id="2143677644" r:id="rId26"/>
    <p:sldId id="2143677664" r:id="rId27"/>
    <p:sldId id="2143677657" r:id="rId28"/>
    <p:sldId id="2143677659" r:id="rId29"/>
    <p:sldId id="2143677660" r:id="rId30"/>
    <p:sldId id="409" r:id="rId31"/>
    <p:sldId id="2143677662" r:id="rId32"/>
    <p:sldId id="2143677663" r:id="rId33"/>
    <p:sldId id="2143677653" r:id="rId34"/>
  </p:sldIdLst>
  <p:sldSz cx="24376063" cy="13716000"/>
  <p:notesSz cx="6858000" cy="9144000"/>
  <p:custDataLst>
    <p:tags r:id="rId3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4CB7A4E4-3B2B-4B6E-8A9D-CCD570794A40}">
          <p14:sldIdLst>
            <p14:sldId id="2143677667"/>
            <p14:sldId id="256"/>
            <p14:sldId id="2143677651"/>
            <p14:sldId id="2143677666"/>
            <p14:sldId id="4162"/>
            <p14:sldId id="4173"/>
            <p14:sldId id="4165"/>
            <p14:sldId id="4166"/>
            <p14:sldId id="4177"/>
            <p14:sldId id="2143677668"/>
            <p14:sldId id="2143677669"/>
            <p14:sldId id="4168"/>
            <p14:sldId id="4171"/>
            <p14:sldId id="4169"/>
            <p14:sldId id="4170"/>
            <p14:sldId id="4167"/>
            <p14:sldId id="4174"/>
            <p14:sldId id="4175"/>
            <p14:sldId id="4179"/>
            <p14:sldId id="2143677654"/>
            <p14:sldId id="2143677665"/>
            <p14:sldId id="2143677644"/>
            <p14:sldId id="2143677664"/>
            <p14:sldId id="2143677657"/>
            <p14:sldId id="2143677659"/>
            <p14:sldId id="2143677660"/>
            <p14:sldId id="409"/>
            <p14:sldId id="2143677662"/>
            <p14:sldId id="2143677663"/>
            <p14:sldId id="2143677653"/>
          </p14:sldIdLst>
        </p14:section>
        <p14:section name="Appendix" id="{B6DEBD5E-2DB3-4C30-BC01-BB6B255942C2}">
          <p14:sldIdLst/>
        </p14:section>
        <p14:section name="Appendix" id="{9D1322C8-66B4-4680-B36F-99B23EBD03A5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542"/>
    <a:srgbClr val="2519FF"/>
    <a:srgbClr val="554CFD"/>
    <a:srgbClr val="ED3F26"/>
    <a:srgbClr val="FC6D19"/>
    <a:srgbClr val="76E6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2F3178-9889-461E-A661-50D2457DBE12}" v="77" dt="2023-04-19T08:28:10.7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2330"/>
  </p:normalViewPr>
  <p:slideViewPr>
    <p:cSldViewPr snapToGrid="0">
      <p:cViewPr varScale="1">
        <p:scale>
          <a:sx n="26" d="100"/>
          <a:sy n="26" d="100"/>
        </p:scale>
        <p:origin x="3464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5F4CC97F-76C3-431D-97DA-6F78BFEB396D}" type="datetimeFigureOut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E53A5F6-6149-406E-83AB-E7AF74290818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611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53A5F6-6149-406E-83AB-E7AF74290818}" type="slidenum">
              <a:rPr lang="nb-NO" smtClean="0"/>
              <a:pPr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0079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8"/>
              </a:spcAft>
            </a:pPr>
            <a:endParaRPr lang="nb-NO" sz="19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53A5F6-6149-406E-83AB-E7AF74290818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9961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are putting our customers centre stage and digitalising the power grid to ensure efficient, future-oriented operations in a modern society. We maintain our power lines and plants constantly to ensure stable power supplies. We are building a future-oriented power grid in line with social developments in Western Norway.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BE53A5F6-6149-406E-83AB-E7AF74290818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083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en-gb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are putting our customers centre stage and digitalising the power grid to ensure efficient, future-oriented operations in a modern society. We maintain our power lines and plants constantly to ensure stable power supplies. We are building a future-oriented power grid in line with social developments in Western Norway.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BE53A5F6-6149-406E-83AB-E7AF74290818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7917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CEA52F-A134-429E-830F-375AFFDF89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125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CEA52F-A134-429E-830F-375AFFDF8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k 10">
            <a:extLst>
              <a:ext uri="{FF2B5EF4-FFF2-40B4-BE49-F238E27FC236}">
                <a16:creationId xmlns:a16="http://schemas.microsoft.com/office/drawing/2014/main" id="{ACDFD72E-48D5-4E46-94D8-6941EEE20ED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61625"/>
          <a:stretch>
            <a:fillRect/>
          </a:stretch>
        </p:blipFill>
        <p:spPr>
          <a:xfrm>
            <a:off x="10085077" y="6439694"/>
            <a:ext cx="18961200" cy="7276307"/>
          </a:xfrm>
          <a:custGeom>
            <a:avLst/>
            <a:gdLst>
              <a:gd name="connsiteX0" fmla="*/ 0 w 18961200"/>
              <a:gd name="connsiteY0" fmla="*/ 0 h 7276307"/>
              <a:gd name="connsiteX1" fmla="*/ 18961200 w 18961200"/>
              <a:gd name="connsiteY1" fmla="*/ 0 h 7276307"/>
              <a:gd name="connsiteX2" fmla="*/ 18961200 w 18961200"/>
              <a:gd name="connsiteY2" fmla="*/ 265906 h 7276307"/>
              <a:gd name="connsiteX3" fmla="*/ 14290984 w 18961200"/>
              <a:gd name="connsiteY3" fmla="*/ 265906 h 7276307"/>
              <a:gd name="connsiteX4" fmla="*/ 14290984 w 18961200"/>
              <a:gd name="connsiteY4" fmla="*/ 7276307 h 7276307"/>
              <a:gd name="connsiteX5" fmla="*/ 0 w 18961200"/>
              <a:gd name="connsiteY5" fmla="*/ 7276307 h 7276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961200" h="7276307">
                <a:moveTo>
                  <a:pt x="0" y="0"/>
                </a:moveTo>
                <a:lnTo>
                  <a:pt x="18961200" y="0"/>
                </a:lnTo>
                <a:lnTo>
                  <a:pt x="18961200" y="265906"/>
                </a:lnTo>
                <a:lnTo>
                  <a:pt x="14290984" y="265906"/>
                </a:lnTo>
                <a:lnTo>
                  <a:pt x="14290984" y="7276307"/>
                </a:lnTo>
                <a:lnTo>
                  <a:pt x="0" y="7276307"/>
                </a:lnTo>
                <a:close/>
              </a:path>
            </a:pathLst>
          </a:cu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C11C648-6B75-4DA5-8BD7-1F031025D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5073DDAF-0D82-554D-A84D-E7E725274BBF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A44FEBC8-D211-40A1-BEB1-B9EA43D84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1616" y="-232425"/>
            <a:ext cx="8226921" cy="15389"/>
          </a:xfrm>
        </p:spPr>
        <p:txBody>
          <a:bodyPr/>
          <a:lstStyle>
            <a:lvl1pPr rtl="0">
              <a:defRPr sz="100"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038EAC5-513F-4D2F-A2EF-0E038DD28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88119" y="-232425"/>
            <a:ext cx="453350" cy="15389"/>
          </a:xfrm>
        </p:spPr>
        <p:txBody>
          <a:bodyPr/>
          <a:lstStyle>
            <a:lvl1pPr rtl="0">
              <a:defRPr sz="100"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B7107424-58FD-4F79-B78E-06DB8752C28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40205" y="4422685"/>
            <a:ext cx="12295652" cy="461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331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5955759-B2CD-46AC-B9BF-700D1FE658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4023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5955759-B2CD-46AC-B9BF-700D1FE658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09525" y="958674"/>
            <a:ext cx="9588603" cy="1551194"/>
          </a:xfrm>
        </p:spPr>
        <p:txBody>
          <a:bodyPr vert="horz" lIns="0" tIns="0" rIns="0" bIns="0"/>
          <a:lstStyle>
            <a:lvl1pPr algn="r" rtl="0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09524" y="3315970"/>
            <a:ext cx="9588602" cy="8702676"/>
          </a:xfrm>
        </p:spPr>
        <p:txBody>
          <a:bodyPr lIns="0" tIns="0" rIns="0" bIns="0"/>
          <a:lstStyle>
            <a:lvl1pPr marL="0" indent="0" algn="r" rtl="0">
              <a:buNone/>
              <a:defRPr/>
            </a:lvl1pPr>
            <a:lvl2pPr marL="914080" indent="0" algn="r">
              <a:buNone/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A31B4513-2579-B24B-BFC6-6082766986E9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bilde 10">
            <a:extLst>
              <a:ext uri="{FF2B5EF4-FFF2-40B4-BE49-F238E27FC236}">
                <a16:creationId xmlns:a16="http://schemas.microsoft.com/office/drawing/2014/main" id="{DAE6DE27-3EBD-4DDC-B23B-4C9991C4A1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8060" y="508059"/>
            <a:ext cx="11430720" cy="12700800"/>
          </a:xfrm>
          <a:prstGeom prst="roundRect">
            <a:avLst>
              <a:gd name="adj" fmla="val 2216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168506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to bilder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F70D67C-70F3-4652-A23A-9D0707E84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506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F70D67C-70F3-4652-A23A-9D0707E84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09525" y="958674"/>
            <a:ext cx="9588603" cy="1551194"/>
          </a:xfrm>
        </p:spPr>
        <p:txBody>
          <a:bodyPr vert="horz" lIns="0" tIns="0" rIns="0" bIns="0"/>
          <a:lstStyle>
            <a:lvl1pPr algn="r" rtl="0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09524" y="3315970"/>
            <a:ext cx="9588602" cy="8702676"/>
          </a:xfrm>
        </p:spPr>
        <p:txBody>
          <a:bodyPr lIns="0" tIns="0" rIns="0" bIns="0"/>
          <a:lstStyle>
            <a:lvl1pPr marL="0" indent="0" algn="r" rtl="0">
              <a:buNone/>
              <a:defRPr/>
            </a:lvl1pPr>
            <a:lvl2pPr marL="914080" indent="0" algn="r">
              <a:buNone/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E53D9CD0-CF6A-DC40-AE16-33ECFD863B0E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bilde 10">
            <a:extLst>
              <a:ext uri="{FF2B5EF4-FFF2-40B4-BE49-F238E27FC236}">
                <a16:creationId xmlns:a16="http://schemas.microsoft.com/office/drawing/2014/main" id="{D4F8CD3F-A2C3-4DD6-92A0-C47DB8B097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8060" y="508059"/>
            <a:ext cx="5588352" cy="12700800"/>
          </a:xfrm>
          <a:prstGeom prst="roundRect">
            <a:avLst>
              <a:gd name="adj" fmla="val 4670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859D9760-8ED2-4609-A387-EA80109D6A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50428" y="507600"/>
            <a:ext cx="5588352" cy="12700800"/>
          </a:xfrm>
          <a:prstGeom prst="roundRect">
            <a:avLst>
              <a:gd name="adj" fmla="val 4670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7447165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on med 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6D8808-8B49-4294-A93C-F52642BDD7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737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6D8808-8B49-4294-A93C-F52642BDD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7A18378-200D-4D3B-9C82-3E7F6B38E378}"/>
              </a:ext>
            </a:extLst>
          </p:cNvPr>
          <p:cNvSpPr/>
          <p:nvPr userDrawn="1"/>
        </p:nvSpPr>
        <p:spPr>
          <a:xfrm>
            <a:off x="1" y="3124577"/>
            <a:ext cx="24376063" cy="7468558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2E94261-804D-4088-8A9C-3712CE26C0C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234055" cy="137177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2570" y="5282257"/>
            <a:ext cx="15375558" cy="775597"/>
          </a:xfrm>
        </p:spPr>
        <p:txBody>
          <a:bodyPr vert="horz" lIns="0" tIns="0" rIns="0" bIns="0" anchor="b"/>
          <a:lstStyle>
            <a:lvl1pPr algn="l"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B6834AEF-F7E7-9D4D-8C28-078D28965FFF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10">
            <a:extLst>
              <a:ext uri="{FF2B5EF4-FFF2-40B4-BE49-F238E27FC236}">
                <a16:creationId xmlns:a16="http://schemas.microsoft.com/office/drawing/2014/main" id="{E4BA04C0-646F-4FD0-BAA7-EC427C6A83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83158" y="2286286"/>
            <a:ext cx="4267200" cy="9144000"/>
          </a:xfrm>
          <a:prstGeom prst="roundRect">
            <a:avLst>
              <a:gd name="adj" fmla="val 11991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E4A6BEA6-98E8-4622-A7D9-799C1E6E8F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22570" y="6477000"/>
            <a:ext cx="15375556" cy="3352797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3600" b="0" i="0" u="none" cap="none">
                <a:solidFill>
                  <a:schemeClr val="lt1"/>
                </a:solidFill>
                <a:latin typeface="+mn-lt"/>
              </a:defRPr>
            </a:lvl1pPr>
            <a:lvl2pPr algn="l">
              <a:defRPr>
                <a:solidFill>
                  <a:schemeClr val="lt1"/>
                </a:solidFill>
              </a:defRPr>
            </a:lvl2pPr>
            <a:lvl3pPr algn="l">
              <a:defRPr>
                <a:solidFill>
                  <a:schemeClr val="lt1"/>
                </a:solidFill>
              </a:defRPr>
            </a:lvl3pPr>
            <a:lvl4pPr algn="l">
              <a:defRPr>
                <a:solidFill>
                  <a:schemeClr val="lt1"/>
                </a:solidFill>
              </a:defRPr>
            </a:lvl4pPr>
            <a:lvl5pPr algn="l"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348557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ed 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D6FFEFF-E79F-4483-BC55-CE57600D2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82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D6FFEFF-E79F-4483-BC55-CE57600D2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F7A18378-200D-4D3B-9C82-3E7F6B38E378}"/>
              </a:ext>
            </a:extLst>
          </p:cNvPr>
          <p:cNvSpPr/>
          <p:nvPr userDrawn="1"/>
        </p:nvSpPr>
        <p:spPr>
          <a:xfrm>
            <a:off x="-1" y="0"/>
            <a:ext cx="24376064" cy="68588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88032" y="5777557"/>
            <a:ext cx="10910096" cy="775597"/>
          </a:xfrm>
        </p:spPr>
        <p:txBody>
          <a:bodyPr vert="horz" lIns="0" tIns="0" rIns="0" bIns="0" anchor="b"/>
          <a:lstStyle>
            <a:lvl1pPr algn="r"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FA8FA816-2B8B-C044-94E9-B36AED5C8B1D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E4A6BEA6-98E8-4622-A7D9-799C1E6E8F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188030" y="7294023"/>
            <a:ext cx="10910095" cy="3352797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3600" b="0" i="0" u="none" cap="none">
                <a:solidFill>
                  <a:schemeClr val="dk2"/>
                </a:solidFill>
                <a:latin typeface="+mn-lt"/>
              </a:defRPr>
            </a:lvl1pPr>
            <a:lvl2pPr algn="l">
              <a:defRPr>
                <a:solidFill>
                  <a:schemeClr val="lt1"/>
                </a:solidFill>
              </a:defRPr>
            </a:lvl2pPr>
            <a:lvl3pPr algn="l">
              <a:defRPr>
                <a:solidFill>
                  <a:schemeClr val="lt1"/>
                </a:solidFill>
              </a:defRPr>
            </a:lvl3pPr>
            <a:lvl4pPr algn="l">
              <a:defRPr>
                <a:solidFill>
                  <a:schemeClr val="lt1"/>
                </a:solidFill>
              </a:defRPr>
            </a:lvl4pPr>
            <a:lvl5pPr algn="l"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024CDCE0-F61C-4E3C-8F17-E8927F2AB85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784779" cy="13717715"/>
          </a:xfrm>
          <a:prstGeom prst="rect">
            <a:avLst/>
          </a:prstGeom>
        </p:spPr>
      </p:pic>
      <p:sp>
        <p:nvSpPr>
          <p:cNvPr id="24" name="Plassholder for bilde 23">
            <a:extLst>
              <a:ext uri="{FF2B5EF4-FFF2-40B4-BE49-F238E27FC236}">
                <a16:creationId xmlns:a16="http://schemas.microsoft.com/office/drawing/2014/main" id="{71F7D898-20FD-4355-8038-25DDFFF587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344336"/>
            <a:ext cx="10418400" cy="7280175"/>
          </a:xfrm>
          <a:custGeom>
            <a:avLst/>
            <a:gdLst>
              <a:gd name="connsiteX0" fmla="*/ 0 w 10418400"/>
              <a:gd name="connsiteY0" fmla="*/ 0 h 7280175"/>
              <a:gd name="connsiteX1" fmla="*/ 243231 w 10418400"/>
              <a:gd name="connsiteY1" fmla="*/ 0 h 7280175"/>
              <a:gd name="connsiteX2" fmla="*/ 723900 w 10418400"/>
              <a:gd name="connsiteY2" fmla="*/ 0 h 7280175"/>
              <a:gd name="connsiteX3" fmla="*/ 10175169 w 10418400"/>
              <a:gd name="connsiteY3" fmla="*/ 0 h 7280175"/>
              <a:gd name="connsiteX4" fmla="*/ 10418400 w 10418400"/>
              <a:gd name="connsiteY4" fmla="*/ 243231 h 7280175"/>
              <a:gd name="connsiteX5" fmla="*/ 10418400 w 10418400"/>
              <a:gd name="connsiteY5" fmla="*/ 7036944 h 7280175"/>
              <a:gd name="connsiteX6" fmla="*/ 10175169 w 10418400"/>
              <a:gd name="connsiteY6" fmla="*/ 7280175 h 7280175"/>
              <a:gd name="connsiteX7" fmla="*/ 723900 w 10418400"/>
              <a:gd name="connsiteY7" fmla="*/ 7280175 h 7280175"/>
              <a:gd name="connsiteX8" fmla="*/ 243231 w 10418400"/>
              <a:gd name="connsiteY8" fmla="*/ 7280175 h 7280175"/>
              <a:gd name="connsiteX9" fmla="*/ 0 w 10418400"/>
              <a:gd name="connsiteY9" fmla="*/ 7280175 h 7280175"/>
              <a:gd name="connsiteX10" fmla="*/ 0 w 10418400"/>
              <a:gd name="connsiteY10" fmla="*/ 7036944 h 7280175"/>
              <a:gd name="connsiteX11" fmla="*/ 0 w 10418400"/>
              <a:gd name="connsiteY11" fmla="*/ 243231 h 728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18400" h="7280175">
                <a:moveTo>
                  <a:pt x="0" y="0"/>
                </a:moveTo>
                <a:lnTo>
                  <a:pt x="243231" y="0"/>
                </a:lnTo>
                <a:lnTo>
                  <a:pt x="723900" y="0"/>
                </a:lnTo>
                <a:lnTo>
                  <a:pt x="10175169" y="0"/>
                </a:lnTo>
                <a:cubicBezTo>
                  <a:pt x="10309502" y="0"/>
                  <a:pt x="10418400" y="108898"/>
                  <a:pt x="10418400" y="243231"/>
                </a:cubicBezTo>
                <a:lnTo>
                  <a:pt x="10418400" y="7036944"/>
                </a:lnTo>
                <a:cubicBezTo>
                  <a:pt x="10418400" y="7171277"/>
                  <a:pt x="10309502" y="7280175"/>
                  <a:pt x="10175169" y="7280175"/>
                </a:cubicBezTo>
                <a:lnTo>
                  <a:pt x="723900" y="7280175"/>
                </a:lnTo>
                <a:lnTo>
                  <a:pt x="243231" y="7280175"/>
                </a:lnTo>
                <a:lnTo>
                  <a:pt x="0" y="7280175"/>
                </a:lnTo>
                <a:lnTo>
                  <a:pt x="0" y="7036944"/>
                </a:lnTo>
                <a:lnTo>
                  <a:pt x="0" y="243231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2509774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sess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11E468-F82D-4FC4-AEC5-532A09AEF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757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11E468-F82D-4FC4-AEC5-532A09AEF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k 6">
            <a:extLst>
              <a:ext uri="{FF2B5EF4-FFF2-40B4-BE49-F238E27FC236}">
                <a16:creationId xmlns:a16="http://schemas.microsoft.com/office/drawing/2014/main" id="{57AF7F2C-3ABD-4B0E-B01E-F6EC1BD748C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4231" y="523412"/>
            <a:ext cx="23367600" cy="12699783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BFF2865-48EB-41EE-BA6F-F27FF7886D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01FAC9E0-EE97-3644-92E7-3181EF6C645A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75802EF-3313-4DAD-9E50-7758CF0D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616A2F1-3466-4B56-8B68-9F2EB483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19067D-574C-4E99-BFFF-1F39199E0D8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356888" y="12193536"/>
            <a:ext cx="1019175" cy="1019175"/>
          </a:xfrm>
          <a:prstGeom prst="rect">
            <a:avLst/>
          </a:prstGeom>
        </p:spPr>
      </p:pic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FA2601-0A65-444B-ADC2-03BAF2DB179B}"/>
              </a:ext>
            </a:extLst>
          </p:cNvPr>
          <p:cNvCxnSpPr/>
          <p:nvPr userDrawn="1"/>
        </p:nvCxnSpPr>
        <p:spPr>
          <a:xfrm>
            <a:off x="22644776" y="12460256"/>
            <a:ext cx="0" cy="482400"/>
          </a:xfrm>
          <a:prstGeom prst="line">
            <a:avLst/>
          </a:prstGeom>
          <a:ln w="254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ekst 20">
            <a:extLst>
              <a:ext uri="{FF2B5EF4-FFF2-40B4-BE49-F238E27FC236}">
                <a16:creationId xmlns:a16="http://schemas.microsoft.com/office/drawing/2014/main" id="{5E215ED9-1CEB-48EA-B736-43316F5D9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6119" y="3149998"/>
            <a:ext cx="3734028" cy="3734029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 rtl="0">
              <a:buNone/>
              <a:defRPr sz="1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27" name="Plassholder for tekst 20">
            <a:extLst>
              <a:ext uri="{FF2B5EF4-FFF2-40B4-BE49-F238E27FC236}">
                <a16:creationId xmlns:a16="http://schemas.microsoft.com/office/drawing/2014/main" id="{E9A6D60F-4B62-4F8D-8126-077BB6071D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5704" y="3149998"/>
            <a:ext cx="3734028" cy="3734029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 rtl="0">
              <a:buNone/>
              <a:defRPr sz="1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28" name="Plassholder for tekst 20">
            <a:extLst>
              <a:ext uri="{FF2B5EF4-FFF2-40B4-BE49-F238E27FC236}">
                <a16:creationId xmlns:a16="http://schemas.microsoft.com/office/drawing/2014/main" id="{28B09960-5D12-428F-92E7-C2E5356610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615290" y="3149998"/>
            <a:ext cx="3734028" cy="3734029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 rtl="0">
              <a:buNone/>
              <a:defRPr sz="1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29" name="Plassholder for tekst 20">
            <a:extLst>
              <a:ext uri="{FF2B5EF4-FFF2-40B4-BE49-F238E27FC236}">
                <a16:creationId xmlns:a16="http://schemas.microsoft.com/office/drawing/2014/main" id="{84778EA6-ECA2-4204-BA90-7D966AACB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65911" y="3149998"/>
            <a:ext cx="3734028" cy="3734029"/>
          </a:xfrm>
          <a:prstGeom prst="ellipse">
            <a:avLst/>
          </a:prstGeom>
          <a:solidFill>
            <a:srgbClr val="554CFD"/>
          </a:solidFill>
        </p:spPr>
        <p:txBody>
          <a:bodyPr anchor="ctr">
            <a:normAutofit/>
          </a:bodyPr>
          <a:lstStyle>
            <a:lvl1pPr marL="0" indent="0" algn="ctr" rtl="0">
              <a:buNone/>
              <a:defRPr sz="1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30" name="Plassholder for tekst 20">
            <a:extLst>
              <a:ext uri="{FF2B5EF4-FFF2-40B4-BE49-F238E27FC236}">
                <a16:creationId xmlns:a16="http://schemas.microsoft.com/office/drawing/2014/main" id="{D2ECCBD4-778D-4F64-A78C-6A9C9E8341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465497" y="3149998"/>
            <a:ext cx="3734028" cy="3734029"/>
          </a:xfrm>
          <a:prstGeom prst="ellipse">
            <a:avLst/>
          </a:prstGeom>
          <a:solidFill>
            <a:srgbClr val="554CFD"/>
          </a:solidFill>
        </p:spPr>
        <p:txBody>
          <a:bodyPr anchor="ctr">
            <a:normAutofit/>
          </a:bodyPr>
          <a:lstStyle>
            <a:lvl1pPr marL="0" indent="0" algn="ctr" rtl="0">
              <a:buNone/>
              <a:defRPr sz="1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32" name="Plassholder for tekst 31">
            <a:extLst>
              <a:ext uri="{FF2B5EF4-FFF2-40B4-BE49-F238E27FC236}">
                <a16:creationId xmlns:a16="http://schemas.microsoft.com/office/drawing/2014/main" id="{A31E3218-16DE-42E2-8BB9-63921C969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65766" y="7677150"/>
            <a:ext cx="2234734" cy="553998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33" name="Plassholder for tekst 31">
            <a:extLst>
              <a:ext uri="{FF2B5EF4-FFF2-40B4-BE49-F238E27FC236}">
                <a16:creationId xmlns:a16="http://schemas.microsoft.com/office/drawing/2014/main" id="{FD7AA2AE-A2C4-44CB-9250-263CF6397A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65766" y="8506495"/>
            <a:ext cx="2234734" cy="2769989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36" name="Plassholder for tekst 31">
            <a:extLst>
              <a:ext uri="{FF2B5EF4-FFF2-40B4-BE49-F238E27FC236}">
                <a16:creationId xmlns:a16="http://schemas.microsoft.com/office/drawing/2014/main" id="{76BC04BD-7578-4608-84B5-C5D9179F36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15558" y="7677150"/>
            <a:ext cx="2234734" cy="553998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37" name="Plassholder for tekst 31">
            <a:extLst>
              <a:ext uri="{FF2B5EF4-FFF2-40B4-BE49-F238E27FC236}">
                <a16:creationId xmlns:a16="http://schemas.microsoft.com/office/drawing/2014/main" id="{D2FA771A-C603-4FA7-8A03-00FA7F0489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15558" y="8506495"/>
            <a:ext cx="2234734" cy="2769989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38" name="Plassholder for tekst 31">
            <a:extLst>
              <a:ext uri="{FF2B5EF4-FFF2-40B4-BE49-F238E27FC236}">
                <a16:creationId xmlns:a16="http://schemas.microsoft.com/office/drawing/2014/main" id="{321AF35D-517D-445E-AED5-D1AEE37C101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65351" y="7677150"/>
            <a:ext cx="2234734" cy="553998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39" name="Plassholder for tekst 31">
            <a:extLst>
              <a:ext uri="{FF2B5EF4-FFF2-40B4-BE49-F238E27FC236}">
                <a16:creationId xmlns:a16="http://schemas.microsoft.com/office/drawing/2014/main" id="{37A76E8F-7181-43D1-9694-465C84772C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65351" y="8506495"/>
            <a:ext cx="2234734" cy="2769989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0" name="Plassholder for tekst 31">
            <a:extLst>
              <a:ext uri="{FF2B5EF4-FFF2-40B4-BE49-F238E27FC236}">
                <a16:creationId xmlns:a16="http://schemas.microsoft.com/office/drawing/2014/main" id="{8D9C43D1-17D2-4B50-AA94-2FE42352B3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215144" y="7677150"/>
            <a:ext cx="2234734" cy="553998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41" name="Plassholder for tekst 31">
            <a:extLst>
              <a:ext uri="{FF2B5EF4-FFF2-40B4-BE49-F238E27FC236}">
                <a16:creationId xmlns:a16="http://schemas.microsoft.com/office/drawing/2014/main" id="{8E9D4B9F-DAE8-41E2-BF81-2EA753E71B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215144" y="8506495"/>
            <a:ext cx="2234734" cy="2769989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2" name="Plassholder for tekst 31">
            <a:extLst>
              <a:ext uri="{FF2B5EF4-FFF2-40B4-BE49-F238E27FC236}">
                <a16:creationId xmlns:a16="http://schemas.microsoft.com/office/drawing/2014/main" id="{E18131B8-5FD7-4DDE-87D4-6140F07C0BF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364937" y="7677150"/>
            <a:ext cx="2234734" cy="553998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43" name="Plassholder for tekst 31">
            <a:extLst>
              <a:ext uri="{FF2B5EF4-FFF2-40B4-BE49-F238E27FC236}">
                <a16:creationId xmlns:a16="http://schemas.microsoft.com/office/drawing/2014/main" id="{BACB2E64-7F86-45DC-A95F-9D625E30BE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364937" y="8506495"/>
            <a:ext cx="2234734" cy="2769989"/>
          </a:xfrm>
        </p:spPr>
        <p:txBody>
          <a:bodyPr wrap="square">
            <a:noAutofit/>
          </a:bodyPr>
          <a:lstStyle>
            <a:lvl1pPr marL="0" indent="0" algn="ctr" rtl="0">
              <a:buNone/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2238431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3003331-3CC8-4A90-A562-FABCB53D5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5535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3003331-3CC8-4A90-A562-FABCB53D5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k 6">
            <a:extLst>
              <a:ext uri="{FF2B5EF4-FFF2-40B4-BE49-F238E27FC236}">
                <a16:creationId xmlns:a16="http://schemas.microsoft.com/office/drawing/2014/main" id="{57AF7F2C-3ABD-4B0E-B01E-F6EC1BD748C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4231" y="523412"/>
            <a:ext cx="23367600" cy="12699783"/>
          </a:xfrm>
          <a:prstGeom prst="rect">
            <a:avLst/>
          </a:prstGeom>
        </p:spPr>
      </p:pic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BFF2865-48EB-41EE-BA6F-F27FF7886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9887BFC-23E3-9646-9DAB-0FA6BF1B6988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75802EF-3313-4DAD-9E50-7758CF0D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616A2F1-3466-4B56-8B68-9F2EB4836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19067D-574C-4E99-BFFF-1F39199E0D8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356888" y="12193536"/>
            <a:ext cx="1019175" cy="1019175"/>
          </a:xfrm>
          <a:prstGeom prst="rect">
            <a:avLst/>
          </a:prstGeom>
        </p:spPr>
      </p:pic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FA2601-0A65-444B-ADC2-03BAF2DB179B}"/>
              </a:ext>
            </a:extLst>
          </p:cNvPr>
          <p:cNvCxnSpPr/>
          <p:nvPr userDrawn="1"/>
        </p:nvCxnSpPr>
        <p:spPr>
          <a:xfrm>
            <a:off x="22644776" y="12460256"/>
            <a:ext cx="0" cy="482400"/>
          </a:xfrm>
          <a:prstGeom prst="line">
            <a:avLst/>
          </a:prstGeom>
          <a:ln w="254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ekst 20">
            <a:extLst>
              <a:ext uri="{FF2B5EF4-FFF2-40B4-BE49-F238E27FC236}">
                <a16:creationId xmlns:a16="http://schemas.microsoft.com/office/drawing/2014/main" id="{5E215ED9-1CEB-48EA-B736-43316F5D9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6118" y="2784238"/>
            <a:ext cx="8706027" cy="8704800"/>
          </a:xfrm>
          <a:prstGeom prst="ellipse">
            <a:avLst/>
          </a:prstGeom>
          <a:solidFill>
            <a:schemeClr val="accent2"/>
          </a:solidFill>
        </p:spPr>
        <p:txBody>
          <a:bodyPr lIns="90000" tIns="90000" rIns="90000" bIns="90000" anchor="ctr">
            <a:normAutofit/>
          </a:bodyPr>
          <a:lstStyle>
            <a:lvl1pPr marL="0" indent="0" algn="ctr" rtl="0">
              <a:buNone/>
              <a:defRPr sz="3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29" name="Plassholder for tekst 20">
            <a:extLst>
              <a:ext uri="{FF2B5EF4-FFF2-40B4-BE49-F238E27FC236}">
                <a16:creationId xmlns:a16="http://schemas.microsoft.com/office/drawing/2014/main" id="{84778EA6-ECA2-4204-BA90-7D966AACB8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82452" y="2784238"/>
            <a:ext cx="8706027" cy="8704800"/>
          </a:xfrm>
          <a:prstGeom prst="ellipse">
            <a:avLst/>
          </a:prstGeom>
          <a:solidFill>
            <a:srgbClr val="554CFD"/>
          </a:solidFill>
        </p:spPr>
        <p:txBody>
          <a:bodyPr lIns="90000" tIns="90000" rIns="90000" bIns="90000" anchor="ctr">
            <a:normAutofit/>
          </a:bodyPr>
          <a:lstStyle>
            <a:lvl1pPr marL="0" indent="0" algn="ctr" rtl="0">
              <a:buNone/>
              <a:defRPr sz="3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32" name="Plassholder for tekst 31">
            <a:extLst>
              <a:ext uri="{FF2B5EF4-FFF2-40B4-BE49-F238E27FC236}">
                <a16:creationId xmlns:a16="http://schemas.microsoft.com/office/drawing/2014/main" id="{A31E3218-16DE-42E2-8BB9-63921C969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65766" y="1700008"/>
            <a:ext cx="7200000" cy="553998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36" name="Plassholder for tekst 31">
            <a:extLst>
              <a:ext uri="{FF2B5EF4-FFF2-40B4-BE49-F238E27FC236}">
                <a16:creationId xmlns:a16="http://schemas.microsoft.com/office/drawing/2014/main" id="{76BC04BD-7578-4608-84B5-C5D9179F36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35465" y="1672964"/>
            <a:ext cx="7200000" cy="553998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</p:spTree>
    <p:extLst>
      <p:ext uri="{BB962C8B-B14F-4D97-AF65-F5344CB8AC3E}">
        <p14:creationId xmlns:p14="http://schemas.microsoft.com/office/powerpoint/2010/main" val="11984167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F1025FC-2E7C-4A73-A1A0-0C4E27F5C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790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F1025FC-2E7C-4A73-A1A0-0C4E27F5C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958674"/>
            <a:ext cx="18851410" cy="1551194"/>
          </a:xfrm>
        </p:spPr>
        <p:txBody>
          <a:bodyPr vert="horz" lIns="0" tIns="0" rIns="0" bIns="0"/>
          <a:lstStyle>
            <a:lvl1pPr rtl="0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14DB3EE4-AA3B-F54E-B7B5-120D494115C1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20890845" y="0"/>
            <a:ext cx="3492487" cy="3492488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3" y="6438878"/>
            <a:ext cx="14039757" cy="7277122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57463" y="2857857"/>
            <a:ext cx="9871282" cy="98712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6095884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ende bilde med tittel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7C1319E-637C-43FC-8751-0959AFF9A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38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7C1319E-637C-43FC-8751-0959AFF9A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 userDrawn="1"/>
        </p:nvSpPr>
        <p:spPr>
          <a:xfrm>
            <a:off x="7257463" y="2857857"/>
            <a:ext cx="9871282" cy="9871282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/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39" y="0"/>
            <a:ext cx="24379009" cy="13716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 rtl="0">
              <a:defRPr/>
            </a:lvl1pPr>
          </a:lstStyle>
          <a:p>
            <a:r>
              <a:rPr lang="nb-NO"/>
              <a:t>Sett inn bilde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57463" y="2857857"/>
            <a:ext cx="9871282" cy="9871282"/>
          </a:xfrm>
          <a:prstGeom prst="ellipse">
            <a:avLst/>
          </a:prstGeom>
          <a:noFill/>
        </p:spPr>
        <p:txBody>
          <a:bodyPr vert="horz" lIns="0" tIns="0" rIns="0" bIns="0" anchor="ctr"/>
          <a:lstStyle>
            <a:lvl1pPr algn="ctr" rtl="0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77E8280A-A5A8-9E49-8A60-8EB53E097023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0055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4288241-10B4-4493-BE8E-3F77EF7FA8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38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4288241-10B4-4493-BE8E-3F77EF7FA8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10344600" y="1"/>
            <a:ext cx="14031465" cy="7277737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688364" y="0"/>
            <a:ext cx="11687699" cy="13716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72455B36-4451-5943-B859-125A4728740F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10223280"/>
            <a:ext cx="3492720" cy="349272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1095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F08D1EC-E7AE-41EF-921A-971493322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79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F08D1EC-E7AE-41EF-921A-971493322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10344600" y="1"/>
            <a:ext cx="14031465" cy="7277737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823903" y="507141"/>
            <a:ext cx="11052000" cy="12703448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21BDA03A-34B4-9549-BBFC-CEFC3708A96A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10223280"/>
            <a:ext cx="3492720" cy="349272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lt2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0117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lk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40DEFB-41ED-4851-B0F1-67161DB69E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536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840DEFB-41ED-4851-B0F1-67161DB69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837C36F4-3439-485F-9F85-8CA1656B1F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248DDA0D-1BEE-7A42-B1EE-FBCD3D3D216C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1AC607D-34F9-4335-B0D4-1F7783103F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118" y="4954273"/>
            <a:ext cx="9689981" cy="4194159"/>
          </a:xfrm>
        </p:spPr>
        <p:txBody>
          <a:bodyPr vert="horz" wrap="square" lIns="0" tIns="0" rIns="0" bIns="0" anchor="t">
            <a:noAutofit/>
          </a:bodyPr>
          <a:lstStyle>
            <a:lvl1pPr algn="l" rtl="0">
              <a:lnSpc>
                <a:spcPct val="95000"/>
              </a:lnSpc>
              <a:defRPr sz="8800" b="1"/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68CC84F6-902E-406B-85A0-45091D20634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6119" y="1016119"/>
            <a:ext cx="4104000" cy="1537412"/>
          </a:xfrm>
          <a:prstGeom prst="rect">
            <a:avLst/>
          </a:prstGeom>
        </p:spPr>
      </p:pic>
      <p:sp>
        <p:nvSpPr>
          <p:cNvPr id="10" name="Ellipse 9">
            <a:extLst>
              <a:ext uri="{FF2B5EF4-FFF2-40B4-BE49-F238E27FC236}">
                <a16:creationId xmlns:a16="http://schemas.microsoft.com/office/drawing/2014/main" id="{86B8EF1F-F258-4684-84D0-56CC41E8500D}"/>
              </a:ext>
            </a:extLst>
          </p:cNvPr>
          <p:cNvSpPr/>
          <p:nvPr userDrawn="1"/>
        </p:nvSpPr>
        <p:spPr>
          <a:xfrm>
            <a:off x="12701596" y="1270167"/>
            <a:ext cx="11174400" cy="11174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/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BA61E25B-057D-4011-8A6B-0A208C4F3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1616" y="-232425"/>
            <a:ext cx="8226921" cy="15389"/>
          </a:xfrm>
        </p:spPr>
        <p:txBody>
          <a:bodyPr/>
          <a:lstStyle>
            <a:lvl1pPr rtl="0">
              <a:defRPr sz="100"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12" name="Plassholder for lysbildenummer 4">
            <a:extLst>
              <a:ext uri="{FF2B5EF4-FFF2-40B4-BE49-F238E27FC236}">
                <a16:creationId xmlns:a16="http://schemas.microsoft.com/office/drawing/2014/main" id="{3E8C21B8-D9B3-4944-8D30-09E82F407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88119" y="-232425"/>
            <a:ext cx="453350" cy="15389"/>
          </a:xfrm>
        </p:spPr>
        <p:txBody>
          <a:bodyPr/>
          <a:lstStyle>
            <a:lvl1pPr rtl="0">
              <a:defRPr sz="100"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2186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19634A0-2010-4BB3-887F-E76CB307CC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700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19634A0-2010-4BB3-887F-E76CB307CC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958674"/>
            <a:ext cx="18851410" cy="1551194"/>
          </a:xfrm>
        </p:spPr>
        <p:txBody>
          <a:bodyPr vert="horz"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11844CD1-7ED1-E045-A256-7EC1B4215E8D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20890845" y="0"/>
            <a:ext cx="3492487" cy="3492488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3" y="6438878"/>
            <a:ext cx="14039757" cy="7277122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57463" y="2857857"/>
            <a:ext cx="9871282" cy="98712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354053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ende bilde med tittel  (Variant 2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0A4A531-48B3-440B-903C-14E5E5F690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18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0A4A531-48B3-440B-903C-14E5E5F690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 userDrawn="1"/>
        </p:nvSpPr>
        <p:spPr>
          <a:xfrm>
            <a:off x="7257463" y="2857857"/>
            <a:ext cx="9871282" cy="987128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solidFill>
                <a:schemeClr val="bg1"/>
              </a:solidFill>
            </a:endParaRPr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39" y="0"/>
            <a:ext cx="24379009" cy="13716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 rtl="0">
              <a:defRPr/>
            </a:lvl1pPr>
          </a:lstStyle>
          <a:p>
            <a:r>
              <a:rPr lang="nb-NO"/>
              <a:t>Sett inn bilde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57463" y="2857857"/>
            <a:ext cx="9871282" cy="9871282"/>
          </a:xfrm>
          <a:prstGeom prst="ellipse">
            <a:avLst/>
          </a:prstGeom>
          <a:noFill/>
        </p:spPr>
        <p:txBody>
          <a:bodyPr vert="horz" lIns="0" tIns="0" rIns="0" bIns="0" anchor="ctr"/>
          <a:lstStyle>
            <a:lvl1pPr algn="ctr" rtl="0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758B0C40-38A5-9842-8B0E-A3CF0D40E63B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93365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2953508-2DFD-47A6-9FFB-D26B0C133A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0866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2953508-2DFD-47A6-9FFB-D26B0C133A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10344600" y="1"/>
            <a:ext cx="14031465" cy="7277737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688364" y="0"/>
            <a:ext cx="11687699" cy="13716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7887D365-67FA-F441-BD59-B87972284E75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10223280"/>
            <a:ext cx="3492720" cy="349272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36965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#2  (Variant 2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9F409A5-ABAA-468E-B979-7A8B0CABBA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901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9F409A5-ABAA-468E-B979-7A8B0CABBA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10344600" y="1"/>
            <a:ext cx="14031465" cy="7277737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823903" y="507141"/>
            <a:ext cx="11052000" cy="12703448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A34D37E8-00D7-AF4B-8628-250C8537AF6A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10223280"/>
            <a:ext cx="3492720" cy="349272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4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31007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670BC6B-A688-4EEE-BF1C-F1106D6617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386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670BC6B-A688-4EEE-BF1C-F1106D661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958674"/>
            <a:ext cx="18851410" cy="1551194"/>
          </a:xfrm>
        </p:spPr>
        <p:txBody>
          <a:bodyPr vert="horz"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7E88F2D4-D076-DB4A-812C-6832BD151FBB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20890845" y="0"/>
            <a:ext cx="3492487" cy="3492488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3" y="6438878"/>
            <a:ext cx="14039757" cy="7277122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57463" y="2857857"/>
            <a:ext cx="9871282" cy="98712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295735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ende bilde med tittel  (Variant 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BBABD5E-37C6-4974-887A-4772FA29BA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364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BBABD5E-37C6-4974-887A-4772FA29BA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 userDrawn="1"/>
        </p:nvSpPr>
        <p:spPr>
          <a:xfrm>
            <a:off x="7257463" y="2857857"/>
            <a:ext cx="9871282" cy="9871282"/>
          </a:xfrm>
          <a:prstGeom prst="ellipse">
            <a:avLst/>
          </a:prstGeom>
          <a:solidFill>
            <a:srgbClr val="ED3F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>
              <a:solidFill>
                <a:schemeClr val="bg1"/>
              </a:solidFill>
            </a:endParaRPr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39" y="0"/>
            <a:ext cx="24379009" cy="13716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 rtl="0">
              <a:defRPr/>
            </a:lvl1pPr>
          </a:lstStyle>
          <a:p>
            <a:r>
              <a:rPr lang="nb-NO"/>
              <a:t>Sett inn bilde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57463" y="2857857"/>
            <a:ext cx="9871282" cy="9871282"/>
          </a:xfrm>
          <a:prstGeom prst="ellipse">
            <a:avLst/>
          </a:prstGeom>
          <a:noFill/>
        </p:spPr>
        <p:txBody>
          <a:bodyPr vert="horz" lIns="0" tIns="0" rIns="0" bIns="0" anchor="ctr"/>
          <a:lstStyle>
            <a:lvl1pPr algn="ctr" rtl="0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89A155B8-F0DC-5D4C-90B2-801A724D501C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88612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74BEB25-4474-44BF-A215-F72A08D7E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375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74BEB25-4474-44BF-A215-F72A08D7E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10344600" y="1"/>
            <a:ext cx="14031465" cy="7277737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688364" y="0"/>
            <a:ext cx="11687699" cy="13716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4D68BA00-0BAE-284F-9191-B14A69B605A9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10223280"/>
            <a:ext cx="3492720" cy="349272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81069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#2  (Variant 3)">
    <p:bg>
      <p:bgPr>
        <a:solidFill>
          <a:srgbClr val="ED3F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3C6702C-0491-43F6-B7AF-9F8D1B855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043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3C6702C-0491-43F6-B7AF-9F8D1B855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10344600" y="1"/>
            <a:ext cx="14031465" cy="7277737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823903" y="507141"/>
            <a:ext cx="11052000" cy="12703448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3646E787-39CF-534A-8234-36635AEE6642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10223280"/>
            <a:ext cx="3492720" cy="349272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3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58754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0AE1AED-8F0B-43FD-9985-76806CA83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702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0AE1AED-8F0B-43FD-9985-76806CA83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958674"/>
            <a:ext cx="18851410" cy="1551194"/>
          </a:xfrm>
        </p:spPr>
        <p:txBody>
          <a:bodyPr vert="horz"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187EDDC1-E6A6-EE43-B828-2E381EA83ACD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A5A3076C-020C-46B3-9627-40067259DBE0}"/>
              </a:ext>
            </a:extLst>
          </p:cNvPr>
          <p:cNvSpPr/>
          <p:nvPr/>
        </p:nvSpPr>
        <p:spPr>
          <a:xfrm>
            <a:off x="20890845" y="0"/>
            <a:ext cx="3492487" cy="3492488"/>
          </a:xfrm>
          <a:custGeom>
            <a:avLst/>
            <a:gdLst>
              <a:gd name="connsiteX0" fmla="*/ 367 w 3492487"/>
              <a:gd name="connsiteY0" fmla="*/ 0 h 3492488"/>
              <a:gd name="connsiteX1" fmla="*/ 3492855 w 3492487"/>
              <a:gd name="connsiteY1" fmla="*/ 3492488 h 3492488"/>
              <a:gd name="connsiteX2" fmla="*/ 3492855 w 3492487"/>
              <a:gd name="connsiteY2" fmla="*/ 0 h 3492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487" h="3492488">
                <a:moveTo>
                  <a:pt x="367" y="0"/>
                </a:moveTo>
                <a:cubicBezTo>
                  <a:pt x="367" y="1928870"/>
                  <a:pt x="1563986" y="3492488"/>
                  <a:pt x="3492855" y="3492488"/>
                </a:cubicBezTo>
                <a:lnTo>
                  <a:pt x="3492855" y="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ABC5F55F-5983-487D-A0C6-07FE474F2A87}"/>
              </a:ext>
            </a:extLst>
          </p:cNvPr>
          <p:cNvSpPr/>
          <p:nvPr/>
        </p:nvSpPr>
        <p:spPr>
          <a:xfrm>
            <a:off x="3" y="6438878"/>
            <a:ext cx="14039757" cy="7277122"/>
          </a:xfrm>
          <a:custGeom>
            <a:avLst/>
            <a:gdLst>
              <a:gd name="connsiteX0" fmla="*/ 4819416 w 14039757"/>
              <a:gd name="connsiteY0" fmla="*/ 0 h 7277122"/>
              <a:gd name="connsiteX1" fmla="*/ 14001460 w 14039757"/>
              <a:gd name="connsiteY1" fmla="*/ 7111191 h 7277122"/>
              <a:gd name="connsiteX2" fmla="*/ 14039757 w 14039757"/>
              <a:gd name="connsiteY2" fmla="*/ 7277122 h 7277122"/>
              <a:gd name="connsiteX3" fmla="*/ 0 w 14039757"/>
              <a:gd name="connsiteY3" fmla="*/ 7277122 h 7277122"/>
              <a:gd name="connsiteX4" fmla="*/ 0 w 14039757"/>
              <a:gd name="connsiteY4" fmla="*/ 1316999 h 7277122"/>
              <a:gd name="connsiteX5" fmla="*/ 300442 w 14039757"/>
              <a:gd name="connsiteY5" fmla="*/ 1144249 h 7277122"/>
              <a:gd name="connsiteX6" fmla="*/ 4819416 w 14039757"/>
              <a:gd name="connsiteY6" fmla="*/ 0 h 7277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39757" h="7277122">
                <a:moveTo>
                  <a:pt x="4819416" y="0"/>
                </a:moveTo>
                <a:cubicBezTo>
                  <a:pt x="9237239" y="0"/>
                  <a:pt x="12949299" y="3021775"/>
                  <a:pt x="14001460" y="7111191"/>
                </a:cubicBezTo>
                <a:lnTo>
                  <a:pt x="14039757" y="7277122"/>
                </a:lnTo>
                <a:lnTo>
                  <a:pt x="0" y="7277122"/>
                </a:lnTo>
                <a:lnTo>
                  <a:pt x="0" y="1316999"/>
                </a:lnTo>
                <a:lnTo>
                  <a:pt x="300442" y="1144249"/>
                </a:lnTo>
                <a:cubicBezTo>
                  <a:pt x="1643767" y="414510"/>
                  <a:pt x="3183185" y="0"/>
                  <a:pt x="4819416" y="0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D709A46D-5815-4D3F-BA66-48BBFF8105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57463" y="2857857"/>
            <a:ext cx="9871282" cy="98712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7880197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ende bilde med tittel  (Variant 4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C7E6AFE-6065-42C0-8E60-286D5A80E0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158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C7E6AFE-6065-42C0-8E60-286D5A80E0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Ellipse 23">
            <a:extLst>
              <a:ext uri="{FF2B5EF4-FFF2-40B4-BE49-F238E27FC236}">
                <a16:creationId xmlns:a16="http://schemas.microsoft.com/office/drawing/2014/main" id="{25F115B0-8BEE-4D68-9944-0FC8FFC8078B}"/>
              </a:ext>
            </a:extLst>
          </p:cNvPr>
          <p:cNvSpPr/>
          <p:nvPr userDrawn="1"/>
        </p:nvSpPr>
        <p:spPr>
          <a:xfrm>
            <a:off x="7257463" y="2857857"/>
            <a:ext cx="9871282" cy="9871282"/>
          </a:xfrm>
          <a:prstGeom prst="ellipse">
            <a:avLst/>
          </a:prstGeom>
          <a:solidFill>
            <a:srgbClr val="554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/>
          </a:p>
        </p:txBody>
      </p:sp>
      <p:sp>
        <p:nvSpPr>
          <p:cNvPr id="35" name="Plassholder for bilde 34">
            <a:extLst>
              <a:ext uri="{FF2B5EF4-FFF2-40B4-BE49-F238E27FC236}">
                <a16:creationId xmlns:a16="http://schemas.microsoft.com/office/drawing/2014/main" id="{58E12416-0D89-4638-90ED-D533504B3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39" y="0"/>
            <a:ext cx="24379009" cy="13716000"/>
          </a:xfrm>
          <a:custGeom>
            <a:avLst/>
            <a:gdLst>
              <a:gd name="connsiteX0" fmla="*/ 0 w 24379009"/>
              <a:gd name="connsiteY0" fmla="*/ 0 h 13716000"/>
              <a:gd name="connsiteX1" fmla="*/ 20883941 w 24379009"/>
              <a:gd name="connsiteY1" fmla="*/ 0 h 13716000"/>
              <a:gd name="connsiteX2" fmla="*/ 24376429 w 24379009"/>
              <a:gd name="connsiteY2" fmla="*/ 3492488 h 13716000"/>
              <a:gd name="connsiteX3" fmla="*/ 24379009 w 24379009"/>
              <a:gd name="connsiteY3" fmla="*/ 13716000 h 13716000"/>
              <a:gd name="connsiteX4" fmla="*/ 9290409 w 24379009"/>
              <a:gd name="connsiteY4" fmla="*/ 13716000 h 13716000"/>
              <a:gd name="connsiteX5" fmla="*/ 9308801 w 24379009"/>
              <a:gd name="connsiteY5" fmla="*/ 13665749 h 13716000"/>
              <a:gd name="connsiteX6" fmla="*/ 9437284 w 24379009"/>
              <a:gd name="connsiteY6" fmla="*/ 12815910 h 13716000"/>
              <a:gd name="connsiteX7" fmla="*/ 9308801 w 24379009"/>
              <a:gd name="connsiteY7" fmla="*/ 11966071 h 13716000"/>
              <a:gd name="connsiteX8" fmla="*/ 9224835 w 24379009"/>
              <a:gd name="connsiteY8" fmla="*/ 11736659 h 13716000"/>
              <a:gd name="connsiteX9" fmla="*/ 9240032 w 24379009"/>
              <a:gd name="connsiteY9" fmla="*/ 11748601 h 13716000"/>
              <a:gd name="connsiteX10" fmla="*/ 12193104 w 24379009"/>
              <a:gd name="connsiteY10" fmla="*/ 12729138 h 13716000"/>
              <a:gd name="connsiteX11" fmla="*/ 17128745 w 24379009"/>
              <a:gd name="connsiteY11" fmla="*/ 7793497 h 13716000"/>
              <a:gd name="connsiteX12" fmla="*/ 12193104 w 24379009"/>
              <a:gd name="connsiteY12" fmla="*/ 2857856 h 13716000"/>
              <a:gd name="connsiteX13" fmla="*/ 7257466 w 24379009"/>
              <a:gd name="connsiteY13" fmla="*/ 7793497 h 13716000"/>
              <a:gd name="connsiteX14" fmla="*/ 7853171 w 24379009"/>
              <a:gd name="connsiteY14" fmla="*/ 10146116 h 13716000"/>
              <a:gd name="connsiteX15" fmla="*/ 7952453 w 24379009"/>
              <a:gd name="connsiteY15" fmla="*/ 10309542 h 13716000"/>
              <a:gd name="connsiteX16" fmla="*/ 7941655 w 24379009"/>
              <a:gd name="connsiteY16" fmla="*/ 10302981 h 13716000"/>
              <a:gd name="connsiteX17" fmla="*/ 6579430 w 24379009"/>
              <a:gd name="connsiteY17" fmla="*/ 9958053 h 13716000"/>
              <a:gd name="connsiteX18" fmla="*/ 3721572 w 24379009"/>
              <a:gd name="connsiteY18" fmla="*/ 12815910 h 13716000"/>
              <a:gd name="connsiteX19" fmla="*/ 3850055 w 24379009"/>
              <a:gd name="connsiteY19" fmla="*/ 13665749 h 13716000"/>
              <a:gd name="connsiteX20" fmla="*/ 3868448 w 24379009"/>
              <a:gd name="connsiteY20" fmla="*/ 13716000 h 13716000"/>
              <a:gd name="connsiteX21" fmla="*/ 0 w 24379009"/>
              <a:gd name="connsiteY21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379009" h="13716000">
                <a:moveTo>
                  <a:pt x="0" y="0"/>
                </a:moveTo>
                <a:lnTo>
                  <a:pt x="20883941" y="0"/>
                </a:lnTo>
                <a:cubicBezTo>
                  <a:pt x="20883941" y="1928870"/>
                  <a:pt x="22447561" y="3492488"/>
                  <a:pt x="24376429" y="3492488"/>
                </a:cubicBezTo>
                <a:cubicBezTo>
                  <a:pt x="24377289" y="6900325"/>
                  <a:pt x="24378149" y="10308163"/>
                  <a:pt x="24379009" y="13716000"/>
                </a:cubicBezTo>
                <a:lnTo>
                  <a:pt x="9290409" y="13716000"/>
                </a:lnTo>
                <a:lnTo>
                  <a:pt x="9308801" y="13665749"/>
                </a:lnTo>
                <a:cubicBezTo>
                  <a:pt x="9392302" y="13397285"/>
                  <a:pt x="9437284" y="13111851"/>
                  <a:pt x="9437284" y="12815910"/>
                </a:cubicBezTo>
                <a:cubicBezTo>
                  <a:pt x="9437284" y="12519969"/>
                  <a:pt x="9392302" y="12234535"/>
                  <a:pt x="9308801" y="11966071"/>
                </a:cubicBezTo>
                <a:lnTo>
                  <a:pt x="9224835" y="11736659"/>
                </a:lnTo>
                <a:lnTo>
                  <a:pt x="9240032" y="11748601"/>
                </a:lnTo>
                <a:cubicBezTo>
                  <a:pt x="10063507" y="12364441"/>
                  <a:pt x="11085716" y="12729138"/>
                  <a:pt x="12193104" y="12729138"/>
                </a:cubicBezTo>
                <a:cubicBezTo>
                  <a:pt x="14918983" y="12729138"/>
                  <a:pt x="17128745" y="10519376"/>
                  <a:pt x="17128745" y="7793497"/>
                </a:cubicBezTo>
                <a:cubicBezTo>
                  <a:pt x="17128745" y="5067618"/>
                  <a:pt x="14918983" y="2857856"/>
                  <a:pt x="12193104" y="2857856"/>
                </a:cubicBezTo>
                <a:cubicBezTo>
                  <a:pt x="9467225" y="2857856"/>
                  <a:pt x="7257466" y="5067618"/>
                  <a:pt x="7257466" y="7793497"/>
                </a:cubicBezTo>
                <a:cubicBezTo>
                  <a:pt x="7257466" y="8645334"/>
                  <a:pt x="7473261" y="9446769"/>
                  <a:pt x="7853171" y="10146116"/>
                </a:cubicBezTo>
                <a:lnTo>
                  <a:pt x="7952453" y="10309542"/>
                </a:lnTo>
                <a:lnTo>
                  <a:pt x="7941655" y="10302981"/>
                </a:lnTo>
                <a:cubicBezTo>
                  <a:pt x="7536716" y="10083005"/>
                  <a:pt x="7072664" y="9958053"/>
                  <a:pt x="6579430" y="9958053"/>
                </a:cubicBezTo>
                <a:cubicBezTo>
                  <a:pt x="5001079" y="9958053"/>
                  <a:pt x="3721572" y="11237559"/>
                  <a:pt x="3721572" y="12815910"/>
                </a:cubicBezTo>
                <a:cubicBezTo>
                  <a:pt x="3721572" y="13111851"/>
                  <a:pt x="3766555" y="13397285"/>
                  <a:pt x="3850055" y="13665749"/>
                </a:cubicBezTo>
                <a:lnTo>
                  <a:pt x="3868448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0" tIns="0" rIns="0" bIns="0">
            <a:noAutofit/>
          </a:bodyPr>
          <a:lstStyle>
            <a:lvl1pPr rtl="0">
              <a:defRPr/>
            </a:lvl1pPr>
          </a:lstStyle>
          <a:p>
            <a:r>
              <a:rPr lang="nb-NO"/>
              <a:t>Sett inn bilde via “Sett inn” -&gt; “Bilde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57463" y="2857857"/>
            <a:ext cx="9871282" cy="9871282"/>
          </a:xfrm>
          <a:prstGeom prst="ellipse">
            <a:avLst/>
          </a:prstGeom>
          <a:noFill/>
        </p:spPr>
        <p:txBody>
          <a:bodyPr vert="horz" lIns="0" tIns="0" rIns="0" bIns="0" anchor="ctr"/>
          <a:lstStyle>
            <a:lvl1pPr algn="ctr" rtl="0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83DACA20-8D62-5B48-A09A-3DAFEED18C78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31" name="Plassholder for tekst 29">
            <a:extLst>
              <a:ext uri="{FF2B5EF4-FFF2-40B4-BE49-F238E27FC236}">
                <a16:creationId xmlns:a16="http://schemas.microsoft.com/office/drawing/2014/main" id="{54FE5D8A-CDA7-45DD-9B27-02A834C31FF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36" name="Plassholder for tekst 29">
            <a:extLst>
              <a:ext uri="{FF2B5EF4-FFF2-40B4-BE49-F238E27FC236}">
                <a16:creationId xmlns:a16="http://schemas.microsoft.com/office/drawing/2014/main" id="{AFA1220D-1696-435F-9FE2-43D4D7829CE9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98208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1E5B275-271B-4362-A32A-CB598C2164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801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1E5B275-271B-4362-A32A-CB598C216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C1D0A842-8C3B-4CBD-BFD4-6599C0CB1E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32"/>
            <a:ext cx="24376063" cy="137115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9304" y="5601974"/>
            <a:ext cx="15217456" cy="2573012"/>
          </a:xfrm>
        </p:spPr>
        <p:txBody>
          <a:bodyPr vert="horz" wrap="square" lIns="0" tIns="0" rIns="0" bIns="0" anchor="ctr">
            <a:noAutofit/>
          </a:bodyPr>
          <a:lstStyle>
            <a:lvl1pPr algn="ctr" rtl="0">
              <a:lnSpc>
                <a:spcPct val="95000"/>
              </a:lnSpc>
              <a:defRPr sz="88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88669"/>
            <a:ext cx="5484614" cy="1538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rtl="0">
              <a:defRPr sz="100"/>
            </a:lvl1pPr>
          </a:lstStyle>
          <a:p>
            <a:fld id="{2BBD2863-E5EF-7A42-87CA-8080896F8ABA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98717" y="-188669"/>
            <a:ext cx="8226921" cy="15389"/>
          </a:xfrm>
        </p:spPr>
        <p:txBody>
          <a:bodyPr lIns="0" tIns="0" rIns="0" bIns="0">
            <a:spAutoFit/>
          </a:bodyPr>
          <a:lstStyle>
            <a:lvl1pPr rtl="0">
              <a:defRPr sz="100"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539741" y="-188669"/>
            <a:ext cx="5484614" cy="15389"/>
          </a:xfrm>
        </p:spPr>
        <p:txBody>
          <a:bodyPr lIns="0" tIns="0" rIns="0" bIns="0">
            <a:spAutoFit/>
          </a:bodyPr>
          <a:lstStyle>
            <a:lvl1pPr rtl="0">
              <a:defRPr sz="100"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140CC8D-0496-4406-ABD1-3C8CD45E22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6119" y="1016119"/>
            <a:ext cx="4104000" cy="1537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8988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99A33D6-D7F6-449F-8AEE-731FFC55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331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99A33D6-D7F6-449F-8AEE-731FFC551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10344600" y="1"/>
            <a:ext cx="14031465" cy="7277737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1" name="Plassholder for bilde 20">
            <a:extLst>
              <a:ext uri="{FF2B5EF4-FFF2-40B4-BE49-F238E27FC236}">
                <a16:creationId xmlns:a16="http://schemas.microsoft.com/office/drawing/2014/main" id="{C88DF1A1-BDE6-40B9-BC88-1B0F743215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688364" y="0"/>
            <a:ext cx="11687699" cy="13716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60983705-EC4B-264F-A0E8-2230E7B1E400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10223280"/>
            <a:ext cx="3492720" cy="349272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7532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bilde høyre #2  (Variant 4)">
    <p:bg>
      <p:bgPr>
        <a:solidFill>
          <a:srgbClr val="554C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ED12291-7941-43E3-A7DA-A617217FBC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54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ED12291-7941-43E3-A7DA-A617217FB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BB19A6C7-78C4-450C-8F12-BC74CFD6DFBE}"/>
              </a:ext>
            </a:extLst>
          </p:cNvPr>
          <p:cNvSpPr/>
          <p:nvPr/>
        </p:nvSpPr>
        <p:spPr>
          <a:xfrm>
            <a:off x="10344600" y="1"/>
            <a:ext cx="14031465" cy="7277737"/>
          </a:xfrm>
          <a:custGeom>
            <a:avLst/>
            <a:gdLst>
              <a:gd name="connsiteX0" fmla="*/ 0 w 14031465"/>
              <a:gd name="connsiteY0" fmla="*/ 0 h 7277737"/>
              <a:gd name="connsiteX1" fmla="*/ 14031465 w 14031465"/>
              <a:gd name="connsiteY1" fmla="*/ 0 h 7277737"/>
              <a:gd name="connsiteX2" fmla="*/ 14031465 w 14031465"/>
              <a:gd name="connsiteY2" fmla="*/ 5966641 h 7277737"/>
              <a:gd name="connsiteX3" fmla="*/ 13790543 w 14031465"/>
              <a:gd name="connsiteY3" fmla="*/ 6105898 h 7277737"/>
              <a:gd name="connsiteX4" fmla="*/ 9220983 w 14031465"/>
              <a:gd name="connsiteY4" fmla="*/ 7277737 h 7277737"/>
              <a:gd name="connsiteX5" fmla="*/ 38329 w 14031465"/>
              <a:gd name="connsiteY5" fmla="*/ 166074 h 727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031465" h="7277737">
                <a:moveTo>
                  <a:pt x="0" y="0"/>
                </a:moveTo>
                <a:lnTo>
                  <a:pt x="14031465" y="0"/>
                </a:lnTo>
                <a:lnTo>
                  <a:pt x="14031465" y="5966641"/>
                </a:lnTo>
                <a:lnTo>
                  <a:pt x="13790543" y="6105898"/>
                </a:lnTo>
                <a:cubicBezTo>
                  <a:pt x="12435315" y="6852772"/>
                  <a:pt x="10877777" y="7277737"/>
                  <a:pt x="9220983" y="7277737"/>
                </a:cubicBezTo>
                <a:cubicBezTo>
                  <a:pt x="4802867" y="7277737"/>
                  <a:pt x="1090560" y="4255761"/>
                  <a:pt x="38329" y="166074"/>
                </a:cubicBez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823903" y="507141"/>
            <a:ext cx="11052000" cy="12703448"/>
          </a:xfrm>
          <a:prstGeom prst="roundRect">
            <a:avLst>
              <a:gd name="adj" fmla="val 2388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BDADE9F0-137C-3E45-BA4F-2D8AE242CD3C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9D0BA09F-1AB7-4820-AAF4-357B04379CF2}"/>
              </a:ext>
            </a:extLst>
          </p:cNvPr>
          <p:cNvSpPr/>
          <p:nvPr/>
        </p:nvSpPr>
        <p:spPr>
          <a:xfrm>
            <a:off x="0" y="10223280"/>
            <a:ext cx="3492720" cy="3492720"/>
          </a:xfrm>
          <a:custGeom>
            <a:avLst/>
            <a:gdLst>
              <a:gd name="connsiteX0" fmla="*/ 3492720 w 3492720"/>
              <a:gd name="connsiteY0" fmla="*/ 3493640 h 3492720"/>
              <a:gd name="connsiteX1" fmla="*/ 0 w 3492720"/>
              <a:gd name="connsiteY1" fmla="*/ 920 h 3492720"/>
              <a:gd name="connsiteX2" fmla="*/ 0 w 3492720"/>
              <a:gd name="connsiteY2" fmla="*/ 3493640 h 349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720" h="3492720">
                <a:moveTo>
                  <a:pt x="3492720" y="3493640"/>
                </a:moveTo>
                <a:cubicBezTo>
                  <a:pt x="3492720" y="1564642"/>
                  <a:pt x="1928998" y="920"/>
                  <a:pt x="0" y="920"/>
                </a:cubicBezTo>
                <a:lnTo>
                  <a:pt x="0" y="3493640"/>
                </a:lnTo>
                <a:close/>
              </a:path>
            </a:pathLst>
          </a:custGeom>
          <a:solidFill>
            <a:schemeClr val="accent6"/>
          </a:solidFill>
          <a:ln w="1269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06366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587A3E4-689E-4909-8C66-47239EC9B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25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587A3E4-689E-4909-8C66-47239EC9B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ssholder for bilde 10">
            <a:extLst>
              <a:ext uri="{FF2B5EF4-FFF2-40B4-BE49-F238E27FC236}">
                <a16:creationId xmlns:a16="http://schemas.microsoft.com/office/drawing/2014/main" id="{3F7E708B-D066-4A8C-A430-D0A7FD91CC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78647" cy="1371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1B4223F4-0147-F641-84A0-66FD34A81A3E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25104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 m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83E48FB-E583-424C-AF16-E69839E7F8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8167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83E48FB-E583-424C-AF16-E69839E7F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ssholder for media 5">
            <a:extLst>
              <a:ext uri="{FF2B5EF4-FFF2-40B4-BE49-F238E27FC236}">
                <a16:creationId xmlns:a16="http://schemas.microsoft.com/office/drawing/2014/main" id="{A2B6FA41-C14D-41AA-AB30-6487DB3FA852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-1" y="-1"/>
            <a:ext cx="24378648" cy="13716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Klikk ikonet for å legge til medi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4754828"/>
            <a:ext cx="10667880" cy="3656386"/>
          </a:xfrm>
        </p:spPr>
        <p:txBody>
          <a:bodyPr vert="horz" wrap="square" lIns="0" tIns="0" rIns="0" bIns="0">
            <a:noAutofit/>
          </a:bodyPr>
          <a:lstStyle>
            <a:lvl1pPr rtl="0">
              <a:defRPr sz="8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CBB37990-FA76-BA47-B3E5-94432D474684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2" name="Plassholder for tekst 29">
            <a:extLst>
              <a:ext uri="{FF2B5EF4-FFF2-40B4-BE49-F238E27FC236}">
                <a16:creationId xmlns:a16="http://schemas.microsoft.com/office/drawing/2014/main" id="{467C46CA-B925-4F9D-9892-3BE03A88CE0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3356888" y="12193536"/>
            <a:ext cx="1019175" cy="1019175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rtl="0"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6" name="Plassholder for tekst 29">
            <a:extLst>
              <a:ext uri="{FF2B5EF4-FFF2-40B4-BE49-F238E27FC236}">
                <a16:creationId xmlns:a16="http://schemas.microsoft.com/office/drawing/2014/main" id="{9C07BABA-FE02-49A3-8612-5A4D1589C4C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2633453" y="12460196"/>
            <a:ext cx="25203" cy="482460"/>
          </a:xfrm>
          <a:solidFill>
            <a:srgbClr val="76E691"/>
          </a:solidFill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lt2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90070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09381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8CD200-C8D5-46DA-8610-7AF3A9F786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454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8CD200-C8D5-46DA-8610-7AF3A9F786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E8BB029-DA49-46F8-9091-80CD83606A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FBD017D-5744-412F-8847-2772105209A6}" type="datetimeFigureOut">
              <a:rPr lang="nb-NO" smtClean="0"/>
              <a:pPr/>
              <a:t>19.04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594E481D-9FC6-4F23-8346-44FDE216C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997BDEA-DC63-46C5-93D6-10652EDD1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3E5A115-0571-4802-8971-9E7814BA191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04397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1EB21C9-15F6-41EE-AF29-86DD5FB5B2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106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1EB21C9-15F6-41EE-AF29-86DD5FB5B2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e 8">
            <a:extLst>
              <a:ext uri="{FF2B5EF4-FFF2-40B4-BE49-F238E27FC236}">
                <a16:creationId xmlns:a16="http://schemas.microsoft.com/office/drawing/2014/main" id="{554A2B1E-151C-4753-81F8-5E4611CDC6A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32"/>
            <a:ext cx="24376063" cy="137115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9304" y="5601974"/>
            <a:ext cx="15217456" cy="2573012"/>
          </a:xfrm>
        </p:spPr>
        <p:txBody>
          <a:bodyPr vert="horz" wrap="square" lIns="0" tIns="0" rIns="0" bIns="0" anchor="ctr">
            <a:noAutofit/>
          </a:bodyPr>
          <a:lstStyle>
            <a:lvl1pPr algn="ctr" rtl="0">
              <a:lnSpc>
                <a:spcPct val="95000"/>
              </a:lnSpc>
              <a:defRPr sz="8800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188669"/>
            <a:ext cx="5484614" cy="1538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rtl="0">
              <a:defRPr sz="100"/>
            </a:lvl1pPr>
          </a:lstStyle>
          <a:p>
            <a:fld id="{86A4D468-3970-6C49-A942-A2BBBB8CCA6B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98717" y="-188669"/>
            <a:ext cx="8226921" cy="15389"/>
          </a:xfrm>
        </p:spPr>
        <p:txBody>
          <a:bodyPr lIns="0" tIns="0" rIns="0" bIns="0">
            <a:spAutoFit/>
          </a:bodyPr>
          <a:lstStyle>
            <a:lvl1pPr rtl="0">
              <a:defRPr sz="100"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539741" y="-188669"/>
            <a:ext cx="5484614" cy="15389"/>
          </a:xfrm>
        </p:spPr>
        <p:txBody>
          <a:bodyPr lIns="0" tIns="0" rIns="0" bIns="0">
            <a:spAutoFit/>
          </a:bodyPr>
          <a:lstStyle>
            <a:lvl1pPr rtl="0">
              <a:defRPr sz="100"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0B80A904-3AB0-425B-9015-553223FC93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6119" y="1016120"/>
            <a:ext cx="4092726" cy="1537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014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18E69C5-0CB8-40BE-942E-4030608B80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130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18E69C5-0CB8-40BE-942E-4030608B80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16120" y="5618250"/>
            <a:ext cx="11171912" cy="1218795"/>
          </a:xfrm>
        </p:spPr>
        <p:txBody>
          <a:bodyPr vert="horz" wrap="square" anchor="b">
            <a:spAutoFit/>
          </a:bodyPr>
          <a:lstStyle>
            <a:lvl1pPr algn="l" rtl="0">
              <a:defRPr sz="8800" b="1">
                <a:solidFill>
                  <a:schemeClr val="lt1"/>
                </a:solidFill>
              </a:defRPr>
            </a:lvl1pPr>
          </a:lstStyle>
          <a:p>
            <a:r>
              <a:rPr lang="nb-NO"/>
              <a:t>Navn Navnesen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CDE6D00-3DD7-419A-8BCF-D34774BD7F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6120" y="7265035"/>
            <a:ext cx="11171912" cy="1723549"/>
          </a:xfrm>
        </p:spPr>
        <p:txBody>
          <a:bodyPr wrap="square">
            <a:spAutoFit/>
          </a:bodyPr>
          <a:lstStyle>
            <a:lvl1pPr marL="0" indent="0" algn="l" rtl="0">
              <a:buNone/>
              <a:defRPr sz="5600" b="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9C6C1255-2D22-3047-905C-F76DBFC2756B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0AF96A3C-BADD-47E8-80A5-E96544A6C10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lassholder for bilde 13">
            <a:extLst>
              <a:ext uri="{FF2B5EF4-FFF2-40B4-BE49-F238E27FC236}">
                <a16:creationId xmlns:a16="http://schemas.microsoft.com/office/drawing/2014/main" id="{8DC9D736-C99A-442F-987A-C1875C8EFB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209656" y="2286286"/>
            <a:ext cx="9144000" cy="9144000"/>
          </a:xfrm>
          <a:custGeom>
            <a:avLst/>
            <a:gdLst>
              <a:gd name="connsiteX0" fmla="*/ 4572000 w 9144000"/>
              <a:gd name="connsiteY0" fmla="*/ 0 h 9144000"/>
              <a:gd name="connsiteX1" fmla="*/ 5039460 w 9144000"/>
              <a:gd name="connsiteY1" fmla="*/ 23605 h 9144000"/>
              <a:gd name="connsiteX2" fmla="*/ 5061772 w 9144000"/>
              <a:gd name="connsiteY2" fmla="*/ 26440 h 9144000"/>
              <a:gd name="connsiteX3" fmla="*/ 5204330 w 9144000"/>
              <a:gd name="connsiteY3" fmla="*/ 183293 h 9144000"/>
              <a:gd name="connsiteX4" fmla="*/ 7494182 w 9144000"/>
              <a:gd name="connsiteY4" fmla="*/ 1201670 h 9144000"/>
              <a:gd name="connsiteX5" fmla="*/ 7665276 w 9144000"/>
              <a:gd name="connsiteY5" fmla="*/ 1205996 h 9144000"/>
              <a:gd name="connsiteX6" fmla="*/ 7804892 w 9144000"/>
              <a:gd name="connsiteY6" fmla="*/ 1339108 h 9144000"/>
              <a:gd name="connsiteX7" fmla="*/ 9144000 w 9144000"/>
              <a:gd name="connsiteY7" fmla="*/ 4572000 h 9144000"/>
              <a:gd name="connsiteX8" fmla="*/ 4572000 w 9144000"/>
              <a:gd name="connsiteY8" fmla="*/ 9144000 h 9144000"/>
              <a:gd name="connsiteX9" fmla="*/ 0 w 9144000"/>
              <a:gd name="connsiteY9" fmla="*/ 4572000 h 9144000"/>
              <a:gd name="connsiteX10" fmla="*/ 4572000 w 9144000"/>
              <a:gd name="connsiteY10" fmla="*/ 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9144000">
                <a:moveTo>
                  <a:pt x="4572000" y="0"/>
                </a:moveTo>
                <a:cubicBezTo>
                  <a:pt x="4729816" y="0"/>
                  <a:pt x="4885764" y="7996"/>
                  <a:pt x="5039460" y="23605"/>
                </a:cubicBezTo>
                <a:lnTo>
                  <a:pt x="5061772" y="26440"/>
                </a:lnTo>
                <a:lnTo>
                  <a:pt x="5204330" y="183293"/>
                </a:lnTo>
                <a:cubicBezTo>
                  <a:pt x="5796844" y="775807"/>
                  <a:pt x="6601272" y="1156409"/>
                  <a:pt x="7494182" y="1201670"/>
                </a:cubicBezTo>
                <a:lnTo>
                  <a:pt x="7665276" y="1205996"/>
                </a:lnTo>
                <a:lnTo>
                  <a:pt x="7804892" y="1339108"/>
                </a:lnTo>
                <a:cubicBezTo>
                  <a:pt x="8632262" y="2166477"/>
                  <a:pt x="9144000" y="3309477"/>
                  <a:pt x="9144000" y="4572000"/>
                </a:cubicBezTo>
                <a:cubicBezTo>
                  <a:pt x="9144000" y="7097046"/>
                  <a:pt x="7097046" y="9144000"/>
                  <a:pt x="4572000" y="9144000"/>
                </a:cubicBezTo>
                <a:cubicBezTo>
                  <a:pt x="2046954" y="9144000"/>
                  <a:pt x="0" y="7097046"/>
                  <a:pt x="0" y="4572000"/>
                </a:cubicBezTo>
                <a:cubicBezTo>
                  <a:pt x="0" y="2046954"/>
                  <a:pt x="2046954" y="0"/>
                  <a:pt x="4572000" y="0"/>
                </a:cubicBez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Frihåndsform: figur 9">
            <a:extLst>
              <a:ext uri="{FF2B5EF4-FFF2-40B4-BE49-F238E27FC236}">
                <a16:creationId xmlns:a16="http://schemas.microsoft.com/office/drawing/2014/main" id="{B7C7F050-1572-4C45-99BD-7CB7B1EB94B5}"/>
              </a:ext>
            </a:extLst>
          </p:cNvPr>
          <p:cNvSpPr/>
          <p:nvPr/>
        </p:nvSpPr>
        <p:spPr>
          <a:xfrm>
            <a:off x="17391062" y="0"/>
            <a:ext cx="6985000" cy="3492500"/>
          </a:xfrm>
          <a:custGeom>
            <a:avLst/>
            <a:gdLst>
              <a:gd name="connsiteX0" fmla="*/ 0 w 6985000"/>
              <a:gd name="connsiteY0" fmla="*/ 0 h 3492500"/>
              <a:gd name="connsiteX1" fmla="*/ 3492500 w 6985000"/>
              <a:gd name="connsiteY1" fmla="*/ 3492500 h 3492500"/>
              <a:gd name="connsiteX2" fmla="*/ 6985000 w 6985000"/>
              <a:gd name="connsiteY2" fmla="*/ 0 h 349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985000" h="3492500">
                <a:moveTo>
                  <a:pt x="0" y="0"/>
                </a:moveTo>
                <a:cubicBezTo>
                  <a:pt x="0" y="1928876"/>
                  <a:pt x="1563624" y="3492500"/>
                  <a:pt x="3492500" y="3492500"/>
                </a:cubicBezTo>
                <a:cubicBezTo>
                  <a:pt x="5421376" y="3492500"/>
                  <a:pt x="6985000" y="1928876"/>
                  <a:pt x="6985000" y="0"/>
                </a:cubicBezTo>
                <a:close/>
              </a:path>
            </a:pathLst>
          </a:custGeom>
          <a:solidFill>
            <a:srgbClr val="FCD300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  <p:sp>
        <p:nvSpPr>
          <p:cNvPr id="12" name="Frihåndsform: figur 11">
            <a:extLst>
              <a:ext uri="{FF2B5EF4-FFF2-40B4-BE49-F238E27FC236}">
                <a16:creationId xmlns:a16="http://schemas.microsoft.com/office/drawing/2014/main" id="{6F4E354F-6224-450E-9D3D-4C5D0BCF0EDD}"/>
              </a:ext>
            </a:extLst>
          </p:cNvPr>
          <p:cNvSpPr/>
          <p:nvPr/>
        </p:nvSpPr>
        <p:spPr>
          <a:xfrm>
            <a:off x="-7938" y="10223500"/>
            <a:ext cx="3492500" cy="3492500"/>
          </a:xfrm>
          <a:custGeom>
            <a:avLst/>
            <a:gdLst>
              <a:gd name="connsiteX0" fmla="*/ 3492500 w 3492500"/>
              <a:gd name="connsiteY0" fmla="*/ 3492500 h 3492500"/>
              <a:gd name="connsiteX1" fmla="*/ 0 w 3492500"/>
              <a:gd name="connsiteY1" fmla="*/ 0 h 3492500"/>
              <a:gd name="connsiteX2" fmla="*/ 0 w 3492500"/>
              <a:gd name="connsiteY2" fmla="*/ 3492500 h 349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2500" h="3492500">
                <a:moveTo>
                  <a:pt x="3492500" y="3492500"/>
                </a:moveTo>
                <a:cubicBezTo>
                  <a:pt x="3492500" y="1563624"/>
                  <a:pt x="1928876" y="0"/>
                  <a:pt x="0" y="0"/>
                </a:cubicBezTo>
                <a:lnTo>
                  <a:pt x="0" y="3492500"/>
                </a:lnTo>
                <a:close/>
              </a:path>
            </a:pathLst>
          </a:custGeom>
          <a:solidFill>
            <a:srgbClr val="FCD300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760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852DACE-A671-4346-965A-5FF9EA46A3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327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852DACE-A671-4346-965A-5FF9EA46A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1E715267-34AF-4B74-AAD1-72409E09DE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32"/>
            <a:ext cx="24376063" cy="1371153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A22C1A7E-B947-495D-A669-27690D3086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120" y="4399455"/>
            <a:ext cx="9200593" cy="2437590"/>
          </a:xfrm>
        </p:spPr>
        <p:txBody>
          <a:bodyPr vert="horz" wrap="square" anchor="b">
            <a:spAutoFit/>
          </a:bodyPr>
          <a:lstStyle>
            <a:lvl1pPr algn="l" rtl="0">
              <a:defRPr sz="8800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278C5-46EE-42FF-A314-3D68F530EA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6A70DDC1-8FFC-624B-BFC5-76C01CD29671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F1DF95-9059-4F80-8961-9E17A1EE9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C0FEBC7-3E7F-4DCB-B8BD-C094F9649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lt1"/>
                </a:solidFill>
              </a:defRPr>
            </a:lvl1pPr>
          </a:lstStyle>
          <a:p>
            <a:fld id="{0AF96A3C-BADD-47E8-80A5-E96544A6C10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FC744FD0-7D08-408B-A97D-A4C4406E03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409448" y="4856780"/>
            <a:ext cx="9720214" cy="6005513"/>
          </a:xfrm>
        </p:spPr>
        <p:txBody>
          <a:bodyPr>
            <a:normAutofit/>
          </a:bodyPr>
          <a:lstStyle>
            <a:lvl1pPr marL="723900" indent="-723900" rtl="0">
              <a:lnSpc>
                <a:spcPct val="100000"/>
              </a:lnSpc>
              <a:spcBef>
                <a:spcPts val="150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5600" b="1">
                <a:solidFill>
                  <a:schemeClr val="lt1"/>
                </a:solidFill>
              </a:defRPr>
            </a:lvl1pPr>
            <a:lvl2pPr marL="914080" indent="0"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B31E833D-6CEF-47AF-A842-08013A6181B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356888" y="12193536"/>
            <a:ext cx="1019175" cy="1019175"/>
          </a:xfrm>
          <a:prstGeom prst="rect">
            <a:avLst/>
          </a:prstGeom>
        </p:spPr>
      </p:pic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635C25F5-BB3E-4579-BA5A-D3E2FDFADE03}"/>
              </a:ext>
            </a:extLst>
          </p:cNvPr>
          <p:cNvCxnSpPr/>
          <p:nvPr userDrawn="1"/>
        </p:nvCxnSpPr>
        <p:spPr>
          <a:xfrm>
            <a:off x="22644776" y="12460256"/>
            <a:ext cx="0" cy="482400"/>
          </a:xfrm>
          <a:prstGeom prst="line">
            <a:avLst/>
          </a:prstGeom>
          <a:ln w="254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165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79E8D18-8FAA-49FB-990D-F928B9DC3C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681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79E8D18-8FAA-49FB-990D-F928B9DC3C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8" y="958674"/>
            <a:ext cx="22348800" cy="1551194"/>
          </a:xfrm>
        </p:spPr>
        <p:txBody>
          <a:bodyPr vert="horz" lIns="0" tIns="0" rIns="0" bIns="0">
            <a:noAutofit/>
          </a:bodyPr>
          <a:lstStyle>
            <a:lvl1pPr rtl="0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6117" y="3315970"/>
            <a:ext cx="22348800" cy="87026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42F2B383-5B5F-564B-9152-AA680F350106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8449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D7E91F-EB02-451E-BB80-34E840624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75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D7E91F-EB02-451E-BB80-34E840624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8" y="958674"/>
            <a:ext cx="22343897" cy="1551194"/>
          </a:xfrm>
        </p:spPr>
        <p:txBody>
          <a:bodyPr vert="horz" lIns="0" tIns="0" rIns="0" bIns="0"/>
          <a:lstStyle>
            <a:lvl1pPr rtl="0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0CA036AB-89AC-A141-94C9-164CA1F0E8F3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8986FE9-895D-44E7-8B0C-A530625962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6119" y="3315970"/>
            <a:ext cx="10728000" cy="87026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2632015" y="3315970"/>
            <a:ext cx="10728000" cy="87026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54294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F643983-E063-4260-9E55-91192AF4D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8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F643983-E063-4260-9E55-91192AF4D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119" y="958674"/>
            <a:ext cx="22348800" cy="1551194"/>
          </a:xfrm>
        </p:spPr>
        <p:txBody>
          <a:bodyPr vert="horz" lIns="0" tIns="0" rIns="0" bIns="0">
            <a:noAutofit/>
          </a:bodyPr>
          <a:lstStyle>
            <a:lvl1pPr rtl="0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lIns="0" tIns="0" rIns="0" bIns="0"/>
          <a:lstStyle>
            <a:lvl1pPr rtl="0">
              <a:defRPr/>
            </a:lvl1pPr>
          </a:lstStyle>
          <a:p>
            <a:fld id="{42D27550-46F9-1845-B2BE-058D978A8BC4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rtl="0">
              <a:defRPr/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8986FE9-895D-44E7-8B0C-A530625962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6119" y="3315970"/>
            <a:ext cx="6912000" cy="87026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30E2F7-1E79-49FF-B1F3-FBCC459D6A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734519" y="3315970"/>
            <a:ext cx="6912000" cy="87026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FFA8EC-5381-431A-A353-70E1893665E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6452919" y="3315970"/>
            <a:ext cx="6912000" cy="8702676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23201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9D07AB4-864C-4331-AD3E-DDF81795CB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720834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08" imgH="408" progId="TCLayout.ActiveDocument.1">
                  <p:embed/>
                </p:oleObj>
              </mc:Choice>
              <mc:Fallback>
                <p:oleObj name="think-cell Slide" r:id="rId38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9D07AB4-864C-4331-AD3E-DDF81795C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6118" y="958674"/>
            <a:ext cx="22343897" cy="155119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117" y="3315970"/>
            <a:ext cx="22348800" cy="87026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-247814"/>
            <a:ext cx="5484614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rtl="0">
              <a:defRPr sz="100">
                <a:solidFill>
                  <a:schemeClr val="dk2"/>
                </a:solidFill>
              </a:defRPr>
            </a:lvl1pPr>
          </a:lstStyle>
          <a:p>
            <a:fld id="{9BCC9B7C-6325-C943-870B-84A761BC3ECA}" type="datetime1">
              <a:rPr lang="nb-NO" smtClean="0"/>
              <a:pPr/>
              <a:t>19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128273" y="12539248"/>
            <a:ext cx="8226921" cy="33855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2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nb-NO"/>
              <a:t>Presentasjonens eller kapittelets tit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644776" y="12539248"/>
            <a:ext cx="453350" cy="33855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2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C6A6BCC-FF39-42D9-ACE8-4D7C31198930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0EAC6C73-B4DF-4FEB-8973-D7236D2768E7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3356888" y="12193536"/>
            <a:ext cx="1019175" cy="1019175"/>
          </a:xfrm>
          <a:prstGeom prst="rect">
            <a:avLst/>
          </a:prstGeom>
        </p:spPr>
      </p:pic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B54C5998-017C-49F3-BC1E-F9B340CB2B20}"/>
              </a:ext>
            </a:extLst>
          </p:cNvPr>
          <p:cNvCxnSpPr/>
          <p:nvPr userDrawn="1"/>
        </p:nvCxnSpPr>
        <p:spPr>
          <a:xfrm>
            <a:off x="22644776" y="12460256"/>
            <a:ext cx="0" cy="482400"/>
          </a:xfrm>
          <a:prstGeom prst="line">
            <a:avLst/>
          </a:prstGeom>
          <a:ln w="25400">
            <a:solidFill>
              <a:schemeClr val="l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508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61" r:id="rId3"/>
    <p:sldLayoutId id="2147483672" r:id="rId4"/>
    <p:sldLayoutId id="2147483673" r:id="rId5"/>
    <p:sldLayoutId id="2147483674" r:id="rId6"/>
    <p:sldLayoutId id="2147483662" r:id="rId7"/>
    <p:sldLayoutId id="2147483664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700" r:id="rId15"/>
    <p:sldLayoutId id="2147483666" r:id="rId16"/>
    <p:sldLayoutId id="2147483683" r:id="rId17"/>
    <p:sldLayoutId id="2147483684" r:id="rId18"/>
    <p:sldLayoutId id="2147483685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693" r:id="rId25"/>
    <p:sldLayoutId id="2147483694" r:id="rId26"/>
    <p:sldLayoutId id="2147483695" r:id="rId27"/>
    <p:sldLayoutId id="2147483696" r:id="rId28"/>
    <p:sldLayoutId id="2147483697" r:id="rId29"/>
    <p:sldLayoutId id="2147483698" r:id="rId30"/>
    <p:sldLayoutId id="2147483699" r:id="rId31"/>
    <p:sldLayoutId id="2147483686" r:id="rId32"/>
    <p:sldLayoutId id="2147483687" r:id="rId33"/>
    <p:sldLayoutId id="2147483701" r:id="rId34"/>
    <p:sldLayoutId id="2147483703" r:id="rId35"/>
  </p:sldLayoutIdLst>
  <p:hf hdr="0" ftr="0" dt="0"/>
  <p:txStyles>
    <p:titleStyle>
      <a:lvl1pPr algn="l" defTabSz="1828160" rtl="0" eaLnBrk="1" latinLnBrk="0" hangingPunct="1">
        <a:lnSpc>
          <a:spcPct val="90000"/>
        </a:lnSpc>
        <a:spcBef>
          <a:spcPct val="0"/>
        </a:spcBef>
        <a:buNone/>
        <a:defRPr sz="5600" b="1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57040" indent="-457040" algn="l" defTabSz="1828160" rtl="0" eaLnBrk="1" latinLnBrk="0" hangingPunct="1">
        <a:lnSpc>
          <a:spcPct val="100000"/>
        </a:lnSpc>
        <a:spcBef>
          <a:spcPts val="0"/>
        </a:spcBef>
        <a:buClr>
          <a:schemeClr val="bg2">
            <a:lumMod val="75000"/>
          </a:schemeClr>
        </a:buClr>
        <a:buFont typeface="Arial" panose="020B0604020202020204" pitchFamily="34" charset="0"/>
        <a:buChar char="•"/>
        <a:defRPr sz="3600" kern="1200">
          <a:solidFill>
            <a:schemeClr val="dk2"/>
          </a:solidFill>
          <a:latin typeface="+mn-lt"/>
          <a:ea typeface="+mn-ea"/>
          <a:cs typeface="+mn-cs"/>
        </a:defRPr>
      </a:lvl1pPr>
      <a:lvl2pPr marL="1371120" indent="-457040" algn="l" defTabSz="182816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3200" kern="1200">
          <a:solidFill>
            <a:schemeClr val="dk2"/>
          </a:solidFill>
          <a:latin typeface="+mn-lt"/>
          <a:ea typeface="+mn-ea"/>
          <a:cs typeface="+mn-cs"/>
        </a:defRPr>
      </a:lvl2pPr>
      <a:lvl3pPr marL="2285200" indent="-457040" algn="l" defTabSz="182816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dk2"/>
          </a:solidFill>
          <a:latin typeface="+mn-lt"/>
          <a:ea typeface="+mn-ea"/>
          <a:cs typeface="+mn-cs"/>
        </a:defRPr>
      </a:lvl3pPr>
      <a:lvl4pPr marL="3199280" indent="-457040" algn="l" defTabSz="182816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dk2"/>
          </a:solidFill>
          <a:latin typeface="+mn-lt"/>
          <a:ea typeface="+mn-ea"/>
          <a:cs typeface="+mn-cs"/>
        </a:defRPr>
      </a:lvl4pPr>
      <a:lvl5pPr marL="4113360" indent="-457040" algn="l" defTabSz="182816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2800" kern="1200">
          <a:solidFill>
            <a:schemeClr val="dk2"/>
          </a:solidFill>
          <a:latin typeface="+mn-lt"/>
          <a:ea typeface="+mn-ea"/>
          <a:cs typeface="+mn-cs"/>
        </a:defRPr>
      </a:lvl5pPr>
      <a:lvl6pPr marL="5027440" indent="-457040" algn="l" defTabSz="182816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1520" indent="-457040" algn="l" defTabSz="182816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5600" indent="-457040" algn="l" defTabSz="182816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69680" indent="-457040" algn="l" defTabSz="182816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08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16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24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32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40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448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856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2640" algn="l" defTabSz="1828160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7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8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52.sv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svg"/><Relationship Id="rId4" Type="http://schemas.openxmlformats.org/officeDocument/2006/relationships/image" Target="../media/image50.svg"/><Relationship Id="rId9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13" Type="http://schemas.openxmlformats.org/officeDocument/2006/relationships/image" Target="../media/image69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6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5" Type="http://schemas.openxmlformats.org/officeDocument/2006/relationships/image" Target="../media/image71.png"/><Relationship Id="rId10" Type="http://schemas.openxmlformats.org/officeDocument/2006/relationships/image" Target="../media/image66.jpeg"/><Relationship Id="rId4" Type="http://schemas.openxmlformats.org/officeDocument/2006/relationships/image" Target="../media/image60.png"/><Relationship Id="rId9" Type="http://schemas.openxmlformats.org/officeDocument/2006/relationships/image" Target="../media/image65.jpeg"/><Relationship Id="rId14" Type="http://schemas.openxmlformats.org/officeDocument/2006/relationships/image" Target="../media/image7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7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F9E4F841-9503-2808-591E-5F7111A69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nb-NO" smtClean="0"/>
              <a:pPr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497673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kst, skjermbilde, parkering&#10;&#10;Automatisk generert beskrivelse">
            <a:extLst>
              <a:ext uri="{FF2B5EF4-FFF2-40B4-BE49-F238E27FC236}">
                <a16:creationId xmlns:a16="http://schemas.microsoft.com/office/drawing/2014/main" id="{46DB24E9-A33F-D8DF-AC22-B3FF72C1F6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531" y="0"/>
            <a:ext cx="10287000" cy="1371600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7D79E727-3335-3F5E-171D-F8F2FE469A88}"/>
              </a:ext>
            </a:extLst>
          </p:cNvPr>
          <p:cNvSpPr txBox="1"/>
          <p:nvPr/>
        </p:nvSpPr>
        <p:spPr>
          <a:xfrm>
            <a:off x="254000" y="13182600"/>
            <a:ext cx="6007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Source: </a:t>
            </a:r>
            <a:r>
              <a:rPr lang="nb-NO" dirty="0" err="1"/>
              <a:t>Seqouia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304325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538E2D5-4691-CDE1-766F-0EE7C52762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7131" y="1985597"/>
            <a:ext cx="14401800" cy="9744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5759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E80BF7CF-0DE4-8A19-3A42-511010F173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5144" y="1904166"/>
            <a:ext cx="15385773" cy="9907668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A48F106D-5F5D-DBC7-034E-1D28EB6FDDBA}"/>
              </a:ext>
            </a:extLst>
          </p:cNvPr>
          <p:cNvSpPr txBox="1"/>
          <p:nvPr/>
        </p:nvSpPr>
        <p:spPr>
          <a:xfrm>
            <a:off x="457200" y="12979400"/>
            <a:ext cx="7861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Source: Power and </a:t>
            </a:r>
            <a:r>
              <a:rPr lang="nb-NO" sz="1400" dirty="0" err="1"/>
              <a:t>prediction</a:t>
            </a:r>
            <a:r>
              <a:rPr lang="nb-NO" sz="1400" dirty="0"/>
              <a:t> | </a:t>
            </a:r>
            <a:r>
              <a:rPr lang="nb-NO" sz="1400" dirty="0" err="1"/>
              <a:t>Ajay</a:t>
            </a:r>
            <a:r>
              <a:rPr lang="nb-NO" sz="1400" dirty="0"/>
              <a:t> </a:t>
            </a:r>
            <a:r>
              <a:rPr lang="nb-NO" sz="1400" dirty="0" err="1"/>
              <a:t>Agrawal</a:t>
            </a:r>
            <a:r>
              <a:rPr lang="nb-NO" sz="1400" dirty="0"/>
              <a:t>, Joshua Gans, </a:t>
            </a:r>
            <a:r>
              <a:rPr lang="nb-NO" sz="1400" dirty="0" err="1"/>
              <a:t>Avi</a:t>
            </a:r>
            <a:r>
              <a:rPr lang="nb-NO" sz="1400" dirty="0"/>
              <a:t> </a:t>
            </a:r>
            <a:r>
              <a:rPr lang="nb-NO" sz="1400" dirty="0" err="1"/>
              <a:t>Goldfarb</a:t>
            </a: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386519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 print from 1830 showing the carding, drawing and roving of cotton in a steam-powered factory">
            <a:extLst>
              <a:ext uri="{FF2B5EF4-FFF2-40B4-BE49-F238E27FC236}">
                <a16:creationId xmlns:a16="http://schemas.microsoft.com/office/drawing/2014/main" id="{D179BB3D-C95A-429A-02A7-506732FBF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6831" y="463758"/>
            <a:ext cx="19202400" cy="12788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3345FDC5-4DB4-4FCD-093B-342521BDCF67}"/>
              </a:ext>
            </a:extLst>
          </p:cNvPr>
          <p:cNvSpPr txBox="1"/>
          <p:nvPr/>
        </p:nvSpPr>
        <p:spPr>
          <a:xfrm>
            <a:off x="419100" y="13252241"/>
            <a:ext cx="7861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Source: Power and </a:t>
            </a:r>
            <a:r>
              <a:rPr lang="nb-NO" sz="1400" dirty="0" err="1"/>
              <a:t>prediction</a:t>
            </a:r>
            <a:r>
              <a:rPr lang="nb-NO" sz="1400" dirty="0"/>
              <a:t> | </a:t>
            </a:r>
            <a:r>
              <a:rPr lang="nb-NO" sz="1400" dirty="0" err="1"/>
              <a:t>Ajay</a:t>
            </a:r>
            <a:r>
              <a:rPr lang="nb-NO" sz="1400" dirty="0"/>
              <a:t> </a:t>
            </a:r>
            <a:r>
              <a:rPr lang="nb-NO" sz="1400" dirty="0" err="1"/>
              <a:t>Agrawal</a:t>
            </a:r>
            <a:r>
              <a:rPr lang="nb-NO" sz="1400" dirty="0"/>
              <a:t>, Joshua Gans, </a:t>
            </a:r>
            <a:r>
              <a:rPr lang="nb-NO" sz="1400" dirty="0" err="1"/>
              <a:t>Avi</a:t>
            </a:r>
            <a:r>
              <a:rPr lang="nb-NO" sz="1400" dirty="0"/>
              <a:t> </a:t>
            </a:r>
            <a:r>
              <a:rPr lang="nb-NO" sz="1400" dirty="0" err="1"/>
              <a:t>Goldfarb</a:t>
            </a: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15837450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E28C7B28-D5AA-8349-686F-DAF1206A25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0397" y="2010209"/>
            <a:ext cx="13835268" cy="9695582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B31C7AA8-D33F-64D3-9CB6-4742F4D4E504}"/>
              </a:ext>
            </a:extLst>
          </p:cNvPr>
          <p:cNvSpPr txBox="1"/>
          <p:nvPr/>
        </p:nvSpPr>
        <p:spPr>
          <a:xfrm>
            <a:off x="457200" y="12979400"/>
            <a:ext cx="7861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Source: Power and </a:t>
            </a:r>
            <a:r>
              <a:rPr lang="nb-NO" sz="1400" dirty="0" err="1"/>
              <a:t>prediction</a:t>
            </a:r>
            <a:r>
              <a:rPr lang="nb-NO" sz="1400" dirty="0"/>
              <a:t> | </a:t>
            </a:r>
            <a:r>
              <a:rPr lang="nb-NO" sz="1400" dirty="0" err="1"/>
              <a:t>Ajay</a:t>
            </a:r>
            <a:r>
              <a:rPr lang="nb-NO" sz="1400" dirty="0"/>
              <a:t> </a:t>
            </a:r>
            <a:r>
              <a:rPr lang="nb-NO" sz="1400" dirty="0" err="1"/>
              <a:t>Agrawal</a:t>
            </a:r>
            <a:r>
              <a:rPr lang="nb-NO" sz="1400" dirty="0"/>
              <a:t>, Joshua Gans, </a:t>
            </a:r>
            <a:r>
              <a:rPr lang="nb-NO" sz="1400" dirty="0" err="1"/>
              <a:t>Avi</a:t>
            </a:r>
            <a:r>
              <a:rPr lang="nb-NO" sz="1400" dirty="0"/>
              <a:t> </a:t>
            </a:r>
            <a:r>
              <a:rPr lang="nb-NO" sz="1400" dirty="0" err="1"/>
              <a:t>Goldfarb</a:t>
            </a: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32667453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ssembly line workers inside the Ford Motor Company factory at Dearborn, Michigan pictured in 1928">
            <a:extLst>
              <a:ext uri="{FF2B5EF4-FFF2-40B4-BE49-F238E27FC236}">
                <a16:creationId xmlns:a16="http://schemas.microsoft.com/office/drawing/2014/main" id="{11706977-FAC9-9CAE-17A8-E1C47BC503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622" y="259069"/>
            <a:ext cx="17174817" cy="13197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ABE50B51-086C-C9A1-D2A3-8E9E7EA54D7F}"/>
              </a:ext>
            </a:extLst>
          </p:cNvPr>
          <p:cNvSpPr txBox="1"/>
          <p:nvPr/>
        </p:nvSpPr>
        <p:spPr>
          <a:xfrm>
            <a:off x="393700" y="13408223"/>
            <a:ext cx="7861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Source: Power and </a:t>
            </a:r>
            <a:r>
              <a:rPr lang="nb-NO" sz="1400" dirty="0" err="1"/>
              <a:t>prediction</a:t>
            </a:r>
            <a:r>
              <a:rPr lang="nb-NO" sz="1400" dirty="0"/>
              <a:t> | </a:t>
            </a:r>
            <a:r>
              <a:rPr lang="nb-NO" sz="1400" dirty="0" err="1"/>
              <a:t>Ajay</a:t>
            </a:r>
            <a:r>
              <a:rPr lang="nb-NO" sz="1400" dirty="0"/>
              <a:t> </a:t>
            </a:r>
            <a:r>
              <a:rPr lang="nb-NO" sz="1400" dirty="0" err="1"/>
              <a:t>Agrawal</a:t>
            </a:r>
            <a:r>
              <a:rPr lang="nb-NO" sz="1400" dirty="0"/>
              <a:t>, Joshua Gans, </a:t>
            </a:r>
            <a:r>
              <a:rPr lang="nb-NO" sz="1400" dirty="0" err="1"/>
              <a:t>Avi</a:t>
            </a:r>
            <a:r>
              <a:rPr lang="nb-NO" sz="1400" dirty="0"/>
              <a:t> </a:t>
            </a:r>
            <a:r>
              <a:rPr lang="nb-NO" sz="1400" dirty="0" err="1"/>
              <a:t>Goldfarb</a:t>
            </a: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737165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19F1C878-434D-E59F-3B89-F2411E671F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0761" y="251550"/>
            <a:ext cx="13954539" cy="13212899"/>
          </a:xfrm>
          <a:prstGeom prst="rect">
            <a:avLst/>
          </a:prstGeom>
        </p:spPr>
      </p:pic>
      <p:sp>
        <p:nvSpPr>
          <p:cNvPr id="4" name="Ellipse 3">
            <a:extLst>
              <a:ext uri="{FF2B5EF4-FFF2-40B4-BE49-F238E27FC236}">
                <a16:creationId xmlns:a16="http://schemas.microsoft.com/office/drawing/2014/main" id="{E7298796-D592-3B3A-05A7-323EFDDA8FE6}"/>
              </a:ext>
            </a:extLst>
          </p:cNvPr>
          <p:cNvSpPr/>
          <p:nvPr/>
        </p:nvSpPr>
        <p:spPr>
          <a:xfrm>
            <a:off x="10363199" y="8865705"/>
            <a:ext cx="238540" cy="21203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0E435203-0D9D-AEA4-1DFB-518D66118074}"/>
              </a:ext>
            </a:extLst>
          </p:cNvPr>
          <p:cNvSpPr txBox="1"/>
          <p:nvPr/>
        </p:nvSpPr>
        <p:spPr>
          <a:xfrm>
            <a:off x="7639877" y="7699514"/>
            <a:ext cx="2100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Vi er omtrent her</a:t>
            </a:r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5B82817C-0021-9F8D-3EFE-CD96DC0A49A8}"/>
              </a:ext>
            </a:extLst>
          </p:cNvPr>
          <p:cNvCxnSpPr>
            <a:stCxn id="4" idx="1"/>
          </p:cNvCxnSpPr>
          <p:nvPr/>
        </p:nvCxnSpPr>
        <p:spPr>
          <a:xfrm flipH="1" flipV="1">
            <a:off x="8693426" y="8070574"/>
            <a:ext cx="1704706" cy="8261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Sylinder 7">
            <a:extLst>
              <a:ext uri="{FF2B5EF4-FFF2-40B4-BE49-F238E27FC236}">
                <a16:creationId xmlns:a16="http://schemas.microsoft.com/office/drawing/2014/main" id="{E70C04AC-B3D3-A009-AEF9-DC9C21C4D3FF}"/>
              </a:ext>
            </a:extLst>
          </p:cNvPr>
          <p:cNvSpPr txBox="1"/>
          <p:nvPr/>
        </p:nvSpPr>
        <p:spPr>
          <a:xfrm>
            <a:off x="7885043" y="1126435"/>
            <a:ext cx="7818783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3200" dirty="0"/>
              <a:t>AI</a:t>
            </a:r>
          </a:p>
        </p:txBody>
      </p:sp>
    </p:spTree>
    <p:extLst>
      <p:ext uri="{BB962C8B-B14F-4D97-AF65-F5344CB8AC3E}">
        <p14:creationId xmlns:p14="http://schemas.microsoft.com/office/powerpoint/2010/main" val="3632497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e 5">
            <a:extLst>
              <a:ext uri="{FF2B5EF4-FFF2-40B4-BE49-F238E27FC236}">
                <a16:creationId xmlns:a16="http://schemas.microsoft.com/office/drawing/2014/main" id="{76FBB378-FD48-F107-499D-D4BEE6ECFCA9}"/>
              </a:ext>
            </a:extLst>
          </p:cNvPr>
          <p:cNvGrpSpPr/>
          <p:nvPr/>
        </p:nvGrpSpPr>
        <p:grpSpPr>
          <a:xfrm>
            <a:off x="3974773" y="2639953"/>
            <a:ext cx="16426516" cy="7794597"/>
            <a:chOff x="3849310" y="2600196"/>
            <a:chExt cx="16426516" cy="7794597"/>
          </a:xfrm>
        </p:grpSpPr>
        <p:pic>
          <p:nvPicPr>
            <p:cNvPr id="3" name="Bilde 2">
              <a:extLst>
                <a:ext uri="{FF2B5EF4-FFF2-40B4-BE49-F238E27FC236}">
                  <a16:creationId xmlns:a16="http://schemas.microsoft.com/office/drawing/2014/main" id="{2B68057B-1493-02B7-07B6-3F357ED91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49310" y="2608353"/>
              <a:ext cx="7109359" cy="7786440"/>
            </a:xfrm>
            <a:prstGeom prst="rect">
              <a:avLst/>
            </a:prstGeom>
          </p:spPr>
        </p:pic>
        <p:pic>
          <p:nvPicPr>
            <p:cNvPr id="5" name="Bilde 4">
              <a:extLst>
                <a:ext uri="{FF2B5EF4-FFF2-40B4-BE49-F238E27FC236}">
                  <a16:creationId xmlns:a16="http://schemas.microsoft.com/office/drawing/2014/main" id="{C5934669-B3B6-0F4D-FA29-5580C8CEE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417394" y="2600196"/>
              <a:ext cx="6858432" cy="7794597"/>
            </a:xfrm>
            <a:prstGeom prst="rect">
              <a:avLst/>
            </a:prstGeom>
          </p:spPr>
        </p:pic>
      </p:grpSp>
      <p:sp>
        <p:nvSpPr>
          <p:cNvPr id="2" name="TekstSylinder 1">
            <a:extLst>
              <a:ext uri="{FF2B5EF4-FFF2-40B4-BE49-F238E27FC236}">
                <a16:creationId xmlns:a16="http://schemas.microsoft.com/office/drawing/2014/main" id="{CB18E437-F57F-1252-FA15-670590669FB4}"/>
              </a:ext>
            </a:extLst>
          </p:cNvPr>
          <p:cNvSpPr txBox="1"/>
          <p:nvPr/>
        </p:nvSpPr>
        <p:spPr>
          <a:xfrm>
            <a:off x="381000" y="13131800"/>
            <a:ext cx="6223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Source: The Economist</a:t>
            </a:r>
          </a:p>
        </p:txBody>
      </p:sp>
    </p:spTree>
    <p:extLst>
      <p:ext uri="{BB962C8B-B14F-4D97-AF65-F5344CB8AC3E}">
        <p14:creationId xmlns:p14="http://schemas.microsoft.com/office/powerpoint/2010/main" val="14137871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0552C628-3C15-9041-C061-5BBDB8D471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672" y="240398"/>
            <a:ext cx="23596718" cy="11936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7380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C167636A-3C21-E35B-799D-A52C9CA2DF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6311" y="2080546"/>
            <a:ext cx="13003440" cy="955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629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9ABCECF-1049-4081-84DA-77EB43F070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73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9ABCECF-1049-4081-84DA-77EB43F070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tel 3">
            <a:extLst>
              <a:ext uri="{FF2B5EF4-FFF2-40B4-BE49-F238E27FC236}">
                <a16:creationId xmlns:a16="http://schemas.microsoft.com/office/drawing/2014/main" id="{364B4272-B066-4905-8CF4-8FFF1876FA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6118" y="4954273"/>
            <a:ext cx="10269503" cy="4194159"/>
          </a:xfrm>
        </p:spPr>
        <p:txBody>
          <a:bodyPr vert="horz"/>
          <a:lstStyle/>
          <a:p>
            <a:r>
              <a:rPr lang="nb-NO" dirty="0"/>
              <a:t>Datavitenskap og digital forretningsutvikli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CC79B2-12F6-9044-848E-115E3E09F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A6BCC-FF39-42D9-ACE8-4D7C31198930}" type="slidenum">
              <a:rPr lang="nb-NO" smtClean="0"/>
              <a:pPr/>
              <a:t>2</a:t>
            </a:fld>
            <a:endParaRPr lang="nb-NO"/>
          </a:p>
        </p:txBody>
      </p:sp>
      <p:pic>
        <p:nvPicPr>
          <p:cNvPr id="5" name="Plassholder for bilde 35" descr="Et bilde som inneholder tekst, utendørs, himmel, transport&#10;&#10;Automatisk generert beskrivelse">
            <a:extLst>
              <a:ext uri="{FF2B5EF4-FFF2-40B4-BE49-F238E27FC236}">
                <a16:creationId xmlns:a16="http://schemas.microsoft.com/office/drawing/2014/main" id="{CB80EE1E-78FE-48AC-1CD0-E066661868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97" r="21597"/>
          <a:stretch>
            <a:fillRect/>
          </a:stretch>
        </p:blipFill>
        <p:spPr>
          <a:xfrm>
            <a:off x="12688364" y="0"/>
            <a:ext cx="11687699" cy="13716000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</p:spPr>
      </p:pic>
      <p:pic>
        <p:nvPicPr>
          <p:cNvPr id="6" name="Picture Placeholder 14">
            <a:extLst>
              <a:ext uri="{FF2B5EF4-FFF2-40B4-BE49-F238E27FC236}">
                <a16:creationId xmlns:a16="http://schemas.microsoft.com/office/drawing/2014/main" id="{498CC662-3392-E3CF-438C-8EDE681B806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8" r="21588"/>
          <a:stretch/>
        </p:blipFill>
        <p:spPr>
          <a:xfrm>
            <a:off x="20184668" y="8770776"/>
            <a:ext cx="4343795" cy="5097624"/>
          </a:xfrm>
          <a:custGeom>
            <a:avLst/>
            <a:gdLst>
              <a:gd name="connsiteX0" fmla="*/ 4997975 w 11687699"/>
              <a:gd name="connsiteY0" fmla="*/ 0 h 13716000"/>
              <a:gd name="connsiteX1" fmla="*/ 9401699 w 11687699"/>
              <a:gd name="connsiteY1" fmla="*/ 0 h 13716000"/>
              <a:gd name="connsiteX2" fmla="*/ 11687699 w 11687699"/>
              <a:gd name="connsiteY2" fmla="*/ 1226312 h 13716000"/>
              <a:gd name="connsiteX3" fmla="*/ 11687699 w 11687699"/>
              <a:gd name="connsiteY3" fmla="*/ 12489688 h 13716000"/>
              <a:gd name="connsiteX4" fmla="*/ 9401699 w 11687699"/>
              <a:gd name="connsiteY4" fmla="*/ 13716000 h 13716000"/>
              <a:gd name="connsiteX5" fmla="*/ 4997847 w 11687699"/>
              <a:gd name="connsiteY5" fmla="*/ 13716000 h 13716000"/>
              <a:gd name="connsiteX6" fmla="*/ 5110 w 11687699"/>
              <a:gd name="connsiteY6" fmla="*/ 7157360 h 13716000"/>
              <a:gd name="connsiteX7" fmla="*/ 0 w 11687699"/>
              <a:gd name="connsiteY7" fmla="*/ 6906997 h 13716000"/>
              <a:gd name="connsiteX8" fmla="*/ 0 w 11687699"/>
              <a:gd name="connsiteY8" fmla="*/ 6809003 h 13716000"/>
              <a:gd name="connsiteX9" fmla="*/ 5110 w 11687699"/>
              <a:gd name="connsiteY9" fmla="*/ 6558641 h 13716000"/>
              <a:gd name="connsiteX10" fmla="*/ 4997975 w 11687699"/>
              <a:gd name="connsiteY10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87699" h="13716000">
                <a:moveTo>
                  <a:pt x="4997975" y="0"/>
                </a:moveTo>
                <a:lnTo>
                  <a:pt x="9401699" y="0"/>
                </a:lnTo>
                <a:cubicBezTo>
                  <a:pt x="10231771" y="266706"/>
                  <a:pt x="11006345" y="682247"/>
                  <a:pt x="11687699" y="1226312"/>
                </a:cubicBezTo>
                <a:lnTo>
                  <a:pt x="11687699" y="12489688"/>
                </a:lnTo>
                <a:cubicBezTo>
                  <a:pt x="11006345" y="13033756"/>
                  <a:pt x="10231771" y="13449300"/>
                  <a:pt x="9401699" y="13716000"/>
                </a:cubicBezTo>
                <a:lnTo>
                  <a:pt x="4997847" y="13716000"/>
                </a:lnTo>
                <a:cubicBezTo>
                  <a:pt x="2188676" y="12814673"/>
                  <a:pt x="130973" y="10235081"/>
                  <a:pt x="5110" y="7157360"/>
                </a:cubicBezTo>
                <a:lnTo>
                  <a:pt x="0" y="6906997"/>
                </a:lnTo>
                <a:lnTo>
                  <a:pt x="0" y="6809003"/>
                </a:lnTo>
                <a:lnTo>
                  <a:pt x="5110" y="6558641"/>
                </a:lnTo>
                <a:cubicBezTo>
                  <a:pt x="130973" y="3480920"/>
                  <a:pt x="2188680" y="901327"/>
                  <a:pt x="4997975" y="0"/>
                </a:cubicBezTo>
                <a:close/>
              </a:path>
            </a:pathLst>
          </a:custGeom>
          <a:noFill/>
        </p:spPr>
      </p:pic>
      <p:pic>
        <p:nvPicPr>
          <p:cNvPr id="7" name="Plassholder for bilde 13">
            <a:extLst>
              <a:ext uri="{FF2B5EF4-FFF2-40B4-BE49-F238E27FC236}">
                <a16:creationId xmlns:a16="http://schemas.microsoft.com/office/drawing/2014/main" id="{31527CDA-1ECA-6524-6000-6CA14B57701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67" r="29167"/>
          <a:stretch/>
        </p:blipFill>
        <p:spPr>
          <a:xfrm>
            <a:off x="14081828" y="7765560"/>
            <a:ext cx="5950440" cy="5950440"/>
          </a:xfrm>
          <a:custGeom>
            <a:avLst/>
            <a:gdLst>
              <a:gd name="connsiteX0" fmla="*/ 4572000 w 9144000"/>
              <a:gd name="connsiteY0" fmla="*/ 0 h 9144000"/>
              <a:gd name="connsiteX1" fmla="*/ 5039460 w 9144000"/>
              <a:gd name="connsiteY1" fmla="*/ 23605 h 9144000"/>
              <a:gd name="connsiteX2" fmla="*/ 5061772 w 9144000"/>
              <a:gd name="connsiteY2" fmla="*/ 26440 h 9144000"/>
              <a:gd name="connsiteX3" fmla="*/ 5204330 w 9144000"/>
              <a:gd name="connsiteY3" fmla="*/ 183293 h 9144000"/>
              <a:gd name="connsiteX4" fmla="*/ 7494182 w 9144000"/>
              <a:gd name="connsiteY4" fmla="*/ 1201670 h 9144000"/>
              <a:gd name="connsiteX5" fmla="*/ 7665276 w 9144000"/>
              <a:gd name="connsiteY5" fmla="*/ 1205996 h 9144000"/>
              <a:gd name="connsiteX6" fmla="*/ 7804892 w 9144000"/>
              <a:gd name="connsiteY6" fmla="*/ 1339108 h 9144000"/>
              <a:gd name="connsiteX7" fmla="*/ 9144000 w 9144000"/>
              <a:gd name="connsiteY7" fmla="*/ 4572000 h 9144000"/>
              <a:gd name="connsiteX8" fmla="*/ 4572000 w 9144000"/>
              <a:gd name="connsiteY8" fmla="*/ 9144000 h 9144000"/>
              <a:gd name="connsiteX9" fmla="*/ 0 w 9144000"/>
              <a:gd name="connsiteY9" fmla="*/ 4572000 h 9144000"/>
              <a:gd name="connsiteX10" fmla="*/ 4572000 w 9144000"/>
              <a:gd name="connsiteY10" fmla="*/ 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9144000">
                <a:moveTo>
                  <a:pt x="4572000" y="0"/>
                </a:moveTo>
                <a:cubicBezTo>
                  <a:pt x="4729816" y="0"/>
                  <a:pt x="4885764" y="7996"/>
                  <a:pt x="5039460" y="23605"/>
                </a:cubicBezTo>
                <a:lnTo>
                  <a:pt x="5061772" y="26440"/>
                </a:lnTo>
                <a:lnTo>
                  <a:pt x="5204330" y="183293"/>
                </a:lnTo>
                <a:cubicBezTo>
                  <a:pt x="5796844" y="775807"/>
                  <a:pt x="6601272" y="1156409"/>
                  <a:pt x="7494182" y="1201670"/>
                </a:cubicBezTo>
                <a:lnTo>
                  <a:pt x="7665276" y="1205996"/>
                </a:lnTo>
                <a:lnTo>
                  <a:pt x="7804892" y="1339108"/>
                </a:lnTo>
                <a:cubicBezTo>
                  <a:pt x="8632262" y="2166477"/>
                  <a:pt x="9144000" y="3309477"/>
                  <a:pt x="9144000" y="4572000"/>
                </a:cubicBezTo>
                <a:cubicBezTo>
                  <a:pt x="9144000" y="7097046"/>
                  <a:pt x="7097046" y="9144000"/>
                  <a:pt x="4572000" y="9144000"/>
                </a:cubicBezTo>
                <a:cubicBezTo>
                  <a:pt x="2046954" y="9144000"/>
                  <a:pt x="0" y="7097046"/>
                  <a:pt x="0" y="4572000"/>
                </a:cubicBezTo>
                <a:cubicBezTo>
                  <a:pt x="0" y="2046954"/>
                  <a:pt x="2046954" y="0"/>
                  <a:pt x="4572000" y="0"/>
                </a:cubicBez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19039276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ADE69AD9-C0FC-9BAD-E064-B5E1BAE8F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150" y="1487878"/>
            <a:ext cx="19041762" cy="1074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565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C8ACBA37-1796-B2DB-AAE9-39F3CC9EC0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4967" y="2413967"/>
            <a:ext cx="15966128" cy="888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2808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e 8">
            <a:extLst>
              <a:ext uri="{FF2B5EF4-FFF2-40B4-BE49-F238E27FC236}">
                <a16:creationId xmlns:a16="http://schemas.microsoft.com/office/drawing/2014/main" id="{06E4C28B-B6AC-C6F0-48E5-B535CB7C554B}"/>
              </a:ext>
            </a:extLst>
          </p:cNvPr>
          <p:cNvGrpSpPr/>
          <p:nvPr/>
        </p:nvGrpSpPr>
        <p:grpSpPr>
          <a:xfrm>
            <a:off x="9165112" y="3669062"/>
            <a:ext cx="10522226" cy="2478157"/>
            <a:chOff x="9766852" y="3670852"/>
            <a:chExt cx="10522226" cy="2478157"/>
          </a:xfrm>
        </p:grpSpPr>
        <p:sp>
          <p:nvSpPr>
            <p:cNvPr id="4" name="Rektangel 3">
              <a:extLst>
                <a:ext uri="{FF2B5EF4-FFF2-40B4-BE49-F238E27FC236}">
                  <a16:creationId xmlns:a16="http://schemas.microsoft.com/office/drawing/2014/main" id="{8996C5E5-CF5C-C278-A344-639A1C6E6C85}"/>
                </a:ext>
              </a:extLst>
            </p:cNvPr>
            <p:cNvSpPr/>
            <p:nvPr/>
          </p:nvSpPr>
          <p:spPr>
            <a:xfrm>
              <a:off x="9766852" y="3670852"/>
              <a:ext cx="1272209" cy="7553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" name="Rektangel 4">
              <a:extLst>
                <a:ext uri="{FF2B5EF4-FFF2-40B4-BE49-F238E27FC236}">
                  <a16:creationId xmlns:a16="http://schemas.microsoft.com/office/drawing/2014/main" id="{389AC691-FF62-BCC9-ED56-9738564C913C}"/>
                </a:ext>
              </a:extLst>
            </p:cNvPr>
            <p:cNvSpPr/>
            <p:nvPr/>
          </p:nvSpPr>
          <p:spPr>
            <a:xfrm>
              <a:off x="10707757" y="4638261"/>
              <a:ext cx="1480274" cy="2120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01E7764F-193D-60D6-DF80-2AFC2A763793}"/>
                </a:ext>
              </a:extLst>
            </p:cNvPr>
            <p:cNvSpPr/>
            <p:nvPr/>
          </p:nvSpPr>
          <p:spPr>
            <a:xfrm>
              <a:off x="10164417" y="5168348"/>
              <a:ext cx="1480274" cy="3180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F0224115-FFB6-CD46-6E13-127345396ADF}"/>
                </a:ext>
              </a:extLst>
            </p:cNvPr>
            <p:cNvSpPr/>
            <p:nvPr/>
          </p:nvSpPr>
          <p:spPr>
            <a:xfrm>
              <a:off x="14100313" y="5062331"/>
              <a:ext cx="742122" cy="3180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656F8D3-542C-FE8A-708A-8DEB687C1ADA}"/>
                </a:ext>
              </a:extLst>
            </p:cNvPr>
            <p:cNvSpPr/>
            <p:nvPr/>
          </p:nvSpPr>
          <p:spPr>
            <a:xfrm>
              <a:off x="19414435" y="5910470"/>
              <a:ext cx="874643" cy="2385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10" name="Rektangel 9">
            <a:extLst>
              <a:ext uri="{FF2B5EF4-FFF2-40B4-BE49-F238E27FC236}">
                <a16:creationId xmlns:a16="http://schemas.microsoft.com/office/drawing/2014/main" id="{B3F35924-6C89-6CEB-7D49-DE85DF62F2B5}"/>
              </a:ext>
            </a:extLst>
          </p:cNvPr>
          <p:cNvSpPr/>
          <p:nvPr/>
        </p:nvSpPr>
        <p:spPr>
          <a:xfrm>
            <a:off x="6215270" y="9727096"/>
            <a:ext cx="1895060" cy="29022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45F71240-D935-128F-ED3B-1C17936E5322}"/>
              </a:ext>
            </a:extLst>
          </p:cNvPr>
          <p:cNvSpPr/>
          <p:nvPr/>
        </p:nvSpPr>
        <p:spPr>
          <a:xfrm>
            <a:off x="7673009" y="5738191"/>
            <a:ext cx="14643652" cy="1736035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8F2AFB27-E2BE-DF2C-D1BE-0BE5D71C6A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517" y="3438047"/>
            <a:ext cx="19729028" cy="683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6543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049A9FE-333B-B189-883E-AD8028CB0E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3205" y="3409468"/>
            <a:ext cx="14889653" cy="6897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4877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63F91C6B-1EAE-3371-E925-278A0D6EF4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5A115-0571-4802-8971-9E7814BA191C}" type="slidenum">
              <a:rPr lang="nb-NO" smtClean="0"/>
              <a:pPr/>
              <a:t>24</a:t>
            </a:fld>
            <a:endParaRPr lang="nb-NO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6FC8671-ACEE-EFAE-5A18-2FC4EBC0C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3274" y="1274588"/>
            <a:ext cx="15569513" cy="1116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14659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53A81637-D3ED-AD9F-92DE-D7D51056A4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6441" y="1451808"/>
            <a:ext cx="15623180" cy="1081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5209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FE2A49A9-55DF-9112-47C9-44FFA743DE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4325" y="4043363"/>
            <a:ext cx="8505825" cy="562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k 2" descr="Kenguru med heldekkende fyll">
            <a:extLst>
              <a:ext uri="{FF2B5EF4-FFF2-40B4-BE49-F238E27FC236}">
                <a16:creationId xmlns:a16="http://schemas.microsoft.com/office/drawing/2014/main" id="{1321105E-3AED-9C1B-FB31-899ABA9F90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095457" y="10520757"/>
            <a:ext cx="914400" cy="914400"/>
          </a:xfrm>
          <a:prstGeom prst="rect">
            <a:avLst/>
          </a:prstGeom>
        </p:spPr>
      </p:pic>
      <p:pic>
        <p:nvPicPr>
          <p:cNvPr id="5" name="Grafikk 4" descr="Kattunge med heldekkende fyll">
            <a:extLst>
              <a:ext uri="{FF2B5EF4-FFF2-40B4-BE49-F238E27FC236}">
                <a16:creationId xmlns:a16="http://schemas.microsoft.com/office/drawing/2014/main" id="{AAD4575D-99E8-4608-DA29-56016D4815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755772" y="10520757"/>
            <a:ext cx="914400" cy="914400"/>
          </a:xfrm>
          <a:prstGeom prst="rect">
            <a:avLst/>
          </a:prstGeom>
        </p:spPr>
      </p:pic>
      <p:pic>
        <p:nvPicPr>
          <p:cNvPr id="7" name="Grafikk 6" descr="Lærer med heldekkende fyll">
            <a:extLst>
              <a:ext uri="{FF2B5EF4-FFF2-40B4-BE49-F238E27FC236}">
                <a16:creationId xmlns:a16="http://schemas.microsoft.com/office/drawing/2014/main" id="{C87A0808-7757-2D34-95A5-6B519FF296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80831" y="10520757"/>
            <a:ext cx="914400" cy="914400"/>
          </a:xfrm>
          <a:prstGeom prst="rect">
            <a:avLst/>
          </a:prstGeom>
        </p:spPr>
      </p:pic>
      <p:pic>
        <p:nvPicPr>
          <p:cNvPr id="9" name="Grafikk 8" descr="Termometer med heldekkende fyll">
            <a:extLst>
              <a:ext uri="{FF2B5EF4-FFF2-40B4-BE49-F238E27FC236}">
                <a16:creationId xmlns:a16="http://schemas.microsoft.com/office/drawing/2014/main" id="{F12A2FDF-7639-C898-6244-CEAD774A841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05891" y="10520757"/>
            <a:ext cx="914400" cy="914400"/>
          </a:xfrm>
          <a:prstGeom prst="rect">
            <a:avLst/>
          </a:prstGeom>
        </p:spPr>
      </p:pic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3DF441C7-4438-436B-312D-AD5296AACCA0}"/>
              </a:ext>
            </a:extLst>
          </p:cNvPr>
          <p:cNvSpPr/>
          <p:nvPr/>
        </p:nvSpPr>
        <p:spPr>
          <a:xfrm>
            <a:off x="17755772" y="10614453"/>
            <a:ext cx="1112996" cy="820703"/>
          </a:xfrm>
          <a:prstGeom prst="roundRect">
            <a:avLst/>
          </a:prstGeom>
          <a:noFill/>
          <a:ln w="381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Grafikk 11" descr="Kunstig intelligens med heldekkende fyll">
            <a:extLst>
              <a:ext uri="{FF2B5EF4-FFF2-40B4-BE49-F238E27FC236}">
                <a16:creationId xmlns:a16="http://schemas.microsoft.com/office/drawing/2014/main" id="{F6D1D17B-7F5E-AD56-10F4-54D7E60DEA1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730037" y="182364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2535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05ED4B6-C8B1-DA08-1F51-30084738DD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7813" y="8870022"/>
            <a:ext cx="22341525" cy="1550689"/>
          </a:xfrm>
        </p:spPr>
        <p:txBody>
          <a:bodyPr/>
          <a:lstStyle/>
          <a:p>
            <a:br>
              <a:rPr lang="nb-NO" sz="4398" dirty="0"/>
            </a:br>
            <a:r>
              <a:rPr lang="nb-NO" sz="4398" dirty="0" err="1"/>
              <a:t>Flex</a:t>
            </a:r>
            <a:r>
              <a:rPr lang="nb-NO" sz="4398" dirty="0"/>
              <a:t>-E – </a:t>
            </a:r>
            <a:r>
              <a:rPr lang="en-US" sz="4398" dirty="0" err="1"/>
              <a:t>Effektiv</a:t>
            </a:r>
            <a:r>
              <a:rPr lang="en-US" sz="4398" dirty="0"/>
              <a:t> </a:t>
            </a:r>
            <a:r>
              <a:rPr lang="en-US" sz="4398" dirty="0" err="1"/>
              <a:t>fleksibilitetsaggregering</a:t>
            </a:r>
            <a:r>
              <a:rPr lang="en-US" sz="4398" dirty="0"/>
              <a:t> for </a:t>
            </a:r>
            <a:r>
              <a:rPr lang="en-US" sz="4398" dirty="0" err="1"/>
              <a:t>Næringsmarkedet</a:t>
            </a:r>
            <a:endParaRPr lang="nb-NO" sz="4398" dirty="0"/>
          </a:p>
        </p:txBody>
      </p:sp>
      <p:pic>
        <p:nvPicPr>
          <p:cNvPr id="9" name="Picture 7" descr="Logo&#10;&#10;Description automatically generated">
            <a:extLst>
              <a:ext uri="{FF2B5EF4-FFF2-40B4-BE49-F238E27FC236}">
                <a16:creationId xmlns:a16="http://schemas.microsoft.com/office/drawing/2014/main" id="{CAE9001F-9160-2F86-AC33-DB75C85C53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81220" y="12245883"/>
            <a:ext cx="1351954" cy="1346050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DC816950-DFC7-55A3-D800-94F405D80A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0019" y="12196094"/>
            <a:ext cx="1008873" cy="34329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5BC759C8-FF9A-0147-725E-0D8DCD6B3D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5141" y="12163979"/>
            <a:ext cx="1008873" cy="407525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2F7D8E67-B80B-980E-9B8E-0CF90CD066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5651" y="10809130"/>
            <a:ext cx="2762938" cy="1030620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2568B608-C830-FF14-8003-4B9CFA02FD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4859" y="10446928"/>
            <a:ext cx="4701615" cy="734627"/>
          </a:xfrm>
          <a:prstGeom prst="rect">
            <a:avLst/>
          </a:prstGeom>
        </p:spPr>
      </p:pic>
      <p:pic>
        <p:nvPicPr>
          <p:cNvPr id="1030" name="Picture 6" descr="Se kildebildet">
            <a:extLst>
              <a:ext uri="{FF2B5EF4-FFF2-40B4-BE49-F238E27FC236}">
                <a16:creationId xmlns:a16="http://schemas.microsoft.com/office/drawing/2014/main" id="{9EC9780A-5056-0867-E39A-582AE910E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31" y="11477458"/>
            <a:ext cx="2492576" cy="51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e kildebildet">
            <a:extLst>
              <a:ext uri="{FF2B5EF4-FFF2-40B4-BE49-F238E27FC236}">
                <a16:creationId xmlns:a16="http://schemas.microsoft.com/office/drawing/2014/main" id="{09C5E70C-8D3E-DB31-BFB5-E71192CB82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38714" y="10242048"/>
            <a:ext cx="2229150" cy="81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e kildebildet">
            <a:extLst>
              <a:ext uri="{FF2B5EF4-FFF2-40B4-BE49-F238E27FC236}">
                <a16:creationId xmlns:a16="http://schemas.microsoft.com/office/drawing/2014/main" id="{6996E670-C72A-70B4-9F5B-F7D762D0CE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4573" y="11261751"/>
            <a:ext cx="3173291" cy="9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Toppe Gartneri">
            <a:extLst>
              <a:ext uri="{FF2B5EF4-FFF2-40B4-BE49-F238E27FC236}">
                <a16:creationId xmlns:a16="http://schemas.microsoft.com/office/drawing/2014/main" id="{C783380F-4FD8-8663-97E5-3AD79E55D7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chemeClr val="accent1">
                <a:lumMod val="7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12700" y="10076971"/>
            <a:ext cx="2681805" cy="976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Se kildebildet">
            <a:extLst>
              <a:ext uri="{FF2B5EF4-FFF2-40B4-BE49-F238E27FC236}">
                <a16:creationId xmlns:a16="http://schemas.microsoft.com/office/drawing/2014/main" id="{EFB2B314-3F76-98C2-15F1-6387001810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6046" y="11415344"/>
            <a:ext cx="4046015" cy="785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Bilde 16">
            <a:extLst>
              <a:ext uri="{FF2B5EF4-FFF2-40B4-BE49-F238E27FC236}">
                <a16:creationId xmlns:a16="http://schemas.microsoft.com/office/drawing/2014/main" id="{C04B3E9F-6CF9-C0EE-90E2-97D975EE6CF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8467865" y="12580765"/>
            <a:ext cx="2191848" cy="479148"/>
          </a:xfrm>
          <a:prstGeom prst="rect">
            <a:avLst/>
          </a:prstGeom>
        </p:spPr>
      </p:pic>
      <p:pic>
        <p:nvPicPr>
          <p:cNvPr id="1046" name="Picture 22" descr="ClevAir logo">
            <a:extLst>
              <a:ext uri="{FF2B5EF4-FFF2-40B4-BE49-F238E27FC236}">
                <a16:creationId xmlns:a16="http://schemas.microsoft.com/office/drawing/2014/main" id="{1C8FD4AD-3320-90F7-F12C-5EA864BCF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2124" y="11962102"/>
            <a:ext cx="2856570" cy="609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B2A43F-5BEA-93ED-085F-95AEF71A440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-6" y="2233"/>
            <a:ext cx="24376063" cy="8145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5798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4E85617-1059-1E43-BB2F-BE945BE60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en-gb"/>
              <a:t>BKK Nett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63D05E6-01E3-40F6-8A27-D842977D9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C6A6BCC-FF39-42D9-ACE8-4D7C31198930}" type="slidenum">
              <a:rPr lang="nb-NO" smtClean="0"/>
              <a:pPr rtl="0"/>
              <a:t>28</a:t>
            </a:fld>
            <a:endParaRPr lang="nb-NO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A8E5874F-77D9-4946-8538-5FA57426DF08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" r="10"/>
          <a:stretch/>
        </p:blipFill>
        <p:spPr>
          <a:xfrm>
            <a:off x="0" y="0"/>
            <a:ext cx="24379238" cy="13716000"/>
          </a:xfr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13A38F0-B10B-4E49-8F41-5C1604144E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10066" y="12083950"/>
            <a:ext cx="2636934" cy="455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1833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4E85617-1059-1E43-BB2F-BE945BE60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en-gb"/>
              <a:t>BKK Nett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63D05E6-01E3-40F6-8A27-D842977D9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C6A6BCC-FF39-42D9-ACE8-4D7C31198930}" type="slidenum">
              <a:rPr lang="nb-NO" smtClean="0"/>
              <a:pPr rtl="0"/>
              <a:t>29</a:t>
            </a:fld>
            <a:endParaRPr lang="nb-NO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A8E5874F-77D9-4946-8538-5FA57426DF08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" r="10"/>
          <a:stretch/>
        </p:blipFill>
        <p:spPr>
          <a:xfrm>
            <a:off x="0" y="0"/>
            <a:ext cx="24379238" cy="13716000"/>
          </a:xfr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13A38F0-B10B-4E49-8F41-5C1604144E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10066" y="12083950"/>
            <a:ext cx="2636934" cy="455298"/>
          </a:xfrm>
          <a:prstGeom prst="rect">
            <a:avLst/>
          </a:prstGeom>
        </p:spPr>
      </p:pic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933B965B-3025-DF5F-F5B1-1A13B9CA70B8}"/>
              </a:ext>
            </a:extLst>
          </p:cNvPr>
          <p:cNvSpPr/>
          <p:nvPr/>
        </p:nvSpPr>
        <p:spPr>
          <a:xfrm>
            <a:off x="5981700" y="5586677"/>
            <a:ext cx="292100" cy="455298"/>
          </a:xfrm>
          <a:prstGeom prst="round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Rektangel: avrundede hjørner 2">
            <a:extLst>
              <a:ext uri="{FF2B5EF4-FFF2-40B4-BE49-F238E27FC236}">
                <a16:creationId xmlns:a16="http://schemas.microsoft.com/office/drawing/2014/main" id="{153EC54E-6A32-C71D-BE27-90A3E358E5D1}"/>
              </a:ext>
            </a:extLst>
          </p:cNvPr>
          <p:cNvSpPr/>
          <p:nvPr/>
        </p:nvSpPr>
        <p:spPr>
          <a:xfrm>
            <a:off x="5524500" y="5814326"/>
            <a:ext cx="292100" cy="455298"/>
          </a:xfrm>
          <a:prstGeom prst="round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FC15CEDD-7BD5-94D9-2846-39BE0AFAC09C}"/>
              </a:ext>
            </a:extLst>
          </p:cNvPr>
          <p:cNvSpPr/>
          <p:nvPr/>
        </p:nvSpPr>
        <p:spPr>
          <a:xfrm>
            <a:off x="7600950" y="6157226"/>
            <a:ext cx="292100" cy="455298"/>
          </a:xfrm>
          <a:prstGeom prst="round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68D4D4FA-1797-C162-F69F-A991A13C486B}"/>
              </a:ext>
            </a:extLst>
          </p:cNvPr>
          <p:cNvSpPr/>
          <p:nvPr/>
        </p:nvSpPr>
        <p:spPr>
          <a:xfrm>
            <a:off x="13893083" y="6329457"/>
            <a:ext cx="762477" cy="823598"/>
          </a:xfrm>
          <a:prstGeom prst="round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: avrundede hjørner 6">
            <a:extLst>
              <a:ext uri="{FF2B5EF4-FFF2-40B4-BE49-F238E27FC236}">
                <a16:creationId xmlns:a16="http://schemas.microsoft.com/office/drawing/2014/main" id="{89F0A44F-6B36-8A25-0450-E0B94402193A}"/>
              </a:ext>
            </a:extLst>
          </p:cNvPr>
          <p:cNvSpPr/>
          <p:nvPr/>
        </p:nvSpPr>
        <p:spPr>
          <a:xfrm>
            <a:off x="19126200" y="10845800"/>
            <a:ext cx="4495800" cy="2768599"/>
          </a:xfrm>
          <a:prstGeom prst="round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9790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E050F6A2-8C53-7765-5F8D-0928D5B65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5A115-0571-4802-8971-9E7814BA191C}" type="slidenum">
              <a:rPr lang="nb-NO" smtClean="0"/>
              <a:pPr/>
              <a:t>3</a:t>
            </a:fld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1F8DE18D-96DB-F306-40B6-115B399931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233425"/>
            <a:ext cx="21875558" cy="13211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6023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CEC650BC-A21E-27DB-FA13-010ED71E5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5A115-0571-4802-8971-9E7814BA191C}" type="slidenum">
              <a:rPr lang="nb-NO" smtClean="0"/>
              <a:pPr/>
              <a:t>30</a:t>
            </a:fld>
            <a:endParaRPr lang="nb-NO"/>
          </a:p>
        </p:txBody>
      </p:sp>
      <p:pic>
        <p:nvPicPr>
          <p:cNvPr id="6" name="Bilde 5" descr="Et bilde som inneholder tekst, fargerik, lys&#10;&#10;Automatisk generert beskrivelse">
            <a:extLst>
              <a:ext uri="{FF2B5EF4-FFF2-40B4-BE49-F238E27FC236}">
                <a16:creationId xmlns:a16="http://schemas.microsoft.com/office/drawing/2014/main" id="{54718F9B-6B12-3656-5842-A5395A4CAB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202" y="1674000"/>
            <a:ext cx="9753600" cy="9753600"/>
          </a:xfrm>
          <a:prstGeom prst="rect">
            <a:avLst/>
          </a:prstGeom>
        </p:spPr>
      </p:pic>
      <p:pic>
        <p:nvPicPr>
          <p:cNvPr id="8" name="Bilde 7" descr="Et bilde som inneholder person&#10;&#10;Automatisk generert beskrivelse">
            <a:extLst>
              <a:ext uri="{FF2B5EF4-FFF2-40B4-BE49-F238E27FC236}">
                <a16:creationId xmlns:a16="http://schemas.microsoft.com/office/drawing/2014/main" id="{2A87D425-1C2A-DA34-8936-FAFFA16E51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5261" y="1674000"/>
            <a:ext cx="9753600" cy="9753600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E6C05E91-7A65-1355-E4DD-15F88DB0F3A2}"/>
              </a:ext>
            </a:extLst>
          </p:cNvPr>
          <p:cNvSpPr txBox="1"/>
          <p:nvPr/>
        </p:nvSpPr>
        <p:spPr>
          <a:xfrm>
            <a:off x="6512192" y="887996"/>
            <a:ext cx="121861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 err="1"/>
              <a:t>paint</a:t>
            </a:r>
            <a:r>
              <a:rPr lang="nb-NO" dirty="0"/>
              <a:t> a </a:t>
            </a:r>
            <a:r>
              <a:rPr lang="nb-NO" dirty="0" err="1"/>
              <a:t>pictur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a farmer </a:t>
            </a:r>
            <a:r>
              <a:rPr lang="nb-NO" dirty="0" err="1"/>
              <a:t>transitioning</a:t>
            </a:r>
            <a:r>
              <a:rPr lang="nb-NO" dirty="0"/>
              <a:t> </a:t>
            </a:r>
            <a:r>
              <a:rPr lang="nb-NO" dirty="0" err="1"/>
              <a:t>into</a:t>
            </a:r>
            <a:r>
              <a:rPr lang="nb-NO" dirty="0"/>
              <a:t> a </a:t>
            </a:r>
            <a:r>
              <a:rPr lang="nb-NO" dirty="0" err="1"/>
              <a:t>chef</a:t>
            </a:r>
            <a:r>
              <a:rPr lang="nb-NO" dirty="0"/>
              <a:t> in </a:t>
            </a:r>
            <a:r>
              <a:rPr lang="nb-NO" dirty="0" err="1"/>
              <a:t>the</a:t>
            </a:r>
            <a:r>
              <a:rPr lang="nb-NO" dirty="0"/>
              <a:t> style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synthwave</a:t>
            </a:r>
            <a:endParaRPr lang="nb-NO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509CDEAD-1EC2-6367-F9D9-23FDACBB79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7636" y="1587604"/>
            <a:ext cx="9859616" cy="985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693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CB94F7F3-C042-373A-71DC-D08BD7146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5A115-0571-4802-8971-9E7814BA191C}" type="slidenum">
              <a:rPr lang="nb-NO" smtClean="0"/>
              <a:pPr/>
              <a:t>4</a:t>
            </a:fld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2D45425B-04CB-1A51-4983-A9F5EB3CF9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0899" y="5438435"/>
            <a:ext cx="5091235" cy="283913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F6B67CD8-41D6-F9B7-E48E-453986F95326}"/>
              </a:ext>
            </a:extLst>
          </p:cNvPr>
          <p:cNvSpPr txBox="1"/>
          <p:nvPr/>
        </p:nvSpPr>
        <p:spPr>
          <a:xfrm>
            <a:off x="3365500" y="4368800"/>
            <a:ext cx="509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 err="1"/>
              <a:t>Prediction</a:t>
            </a:r>
            <a:endParaRPr lang="nb-NO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5D03A82D-032B-070B-A8AF-359E5E79B1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8930" y="5438435"/>
            <a:ext cx="4271169" cy="3054354"/>
          </a:xfrm>
          <a:prstGeom prst="rect">
            <a:avLst/>
          </a:prstGeom>
        </p:spPr>
      </p:pic>
      <p:pic>
        <p:nvPicPr>
          <p:cNvPr id="5122" name="Picture 2" descr="ESPN contributor Dan Szymborski spent his holiday using artificial intelligence (AI) to generate all 46 US presidents as Pixar characters">
            <a:extLst>
              <a:ext uri="{FF2B5EF4-FFF2-40B4-BE49-F238E27FC236}">
                <a16:creationId xmlns:a16="http://schemas.microsoft.com/office/drawing/2014/main" id="{85578CC7-EEC6-032C-EDD8-792421FEFA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44581" y="5538451"/>
            <a:ext cx="1473682" cy="295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B6D61369-AACF-A98D-F011-14417607636E}"/>
              </a:ext>
            </a:extLst>
          </p:cNvPr>
          <p:cNvSpPr txBox="1"/>
          <p:nvPr/>
        </p:nvSpPr>
        <p:spPr>
          <a:xfrm>
            <a:off x="10088164" y="4368800"/>
            <a:ext cx="509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 err="1"/>
              <a:t>Classification</a:t>
            </a:r>
            <a:endParaRPr lang="nb-NO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B7CE365B-8789-9BD1-B94A-2D7D296DB75F}"/>
              </a:ext>
            </a:extLst>
          </p:cNvPr>
          <p:cNvSpPr txBox="1"/>
          <p:nvPr/>
        </p:nvSpPr>
        <p:spPr>
          <a:xfrm>
            <a:off x="15835072" y="4368800"/>
            <a:ext cx="509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 err="1"/>
              <a:t>Generation</a:t>
            </a:r>
            <a:endParaRPr lang="nb-NO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2D005D51-CF89-863E-4F81-FA456A0D74C0}"/>
              </a:ext>
            </a:extLst>
          </p:cNvPr>
          <p:cNvSpPr txBox="1"/>
          <p:nvPr/>
        </p:nvSpPr>
        <p:spPr>
          <a:xfrm>
            <a:off x="7095331" y="4368800"/>
            <a:ext cx="509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+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19B36291-B7FC-B0E2-BE1E-482A40D318E5}"/>
              </a:ext>
            </a:extLst>
          </p:cNvPr>
          <p:cNvSpPr txBox="1"/>
          <p:nvPr/>
        </p:nvSpPr>
        <p:spPr>
          <a:xfrm>
            <a:off x="13521531" y="4368800"/>
            <a:ext cx="509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1480956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Models for Predicting the Future: Geoffrey Moore's &quot;Crossing the Chasm&quot; -  Smith House">
            <a:extLst>
              <a:ext uri="{FF2B5EF4-FFF2-40B4-BE49-F238E27FC236}">
                <a16:creationId xmlns:a16="http://schemas.microsoft.com/office/drawing/2014/main" id="{04F64070-3C22-9444-9F5B-118D32C238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3595" y="2174789"/>
            <a:ext cx="15408871" cy="10713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537FC041-DBDA-731E-0F25-2FFA97718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for </a:t>
            </a:r>
            <a:r>
              <a:rPr lang="nb-NO" err="1"/>
              <a:t>produktifisere</a:t>
            </a:r>
            <a:endParaRPr lang="nb-NO"/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F9C6B475-7BBC-C667-B051-4902AD50037E}"/>
              </a:ext>
            </a:extLst>
          </p:cNvPr>
          <p:cNvGrpSpPr/>
          <p:nvPr/>
        </p:nvGrpSpPr>
        <p:grpSpPr>
          <a:xfrm>
            <a:off x="8382149" y="4914738"/>
            <a:ext cx="1836888" cy="1943262"/>
            <a:chOff x="21159036" y="6002132"/>
            <a:chExt cx="1836888" cy="1943262"/>
          </a:xfrm>
        </p:grpSpPr>
        <p:pic>
          <p:nvPicPr>
            <p:cNvPr id="5" name="Grafikk 4" descr="Kvinnelig helt med heldekkende fyll">
              <a:extLst>
                <a:ext uri="{FF2B5EF4-FFF2-40B4-BE49-F238E27FC236}">
                  <a16:creationId xmlns:a16="http://schemas.microsoft.com/office/drawing/2014/main" id="{6CE90B75-B2ED-9C86-A7E5-58512ACF8A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1159036" y="6108506"/>
              <a:ext cx="1836888" cy="1836888"/>
            </a:xfrm>
            <a:prstGeom prst="rect">
              <a:avLst/>
            </a:prstGeom>
          </p:spPr>
        </p:pic>
        <p:pic>
          <p:nvPicPr>
            <p:cNvPr id="4102" name="Picture 6" descr="OpenAI icon PNG and SVG Vector Free Download">
              <a:extLst>
                <a:ext uri="{FF2B5EF4-FFF2-40B4-BE49-F238E27FC236}">
                  <a16:creationId xmlns:a16="http://schemas.microsoft.com/office/drawing/2014/main" id="{A79F912F-79B9-DC36-4321-2C9BB4F3B7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77480" y="6002132"/>
              <a:ext cx="547742" cy="547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83223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36BEB10D-57F9-3EA6-87BB-9B9864730C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5647" y="1394650"/>
            <a:ext cx="21624768" cy="1092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039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8879F50E-7AD3-2B42-E54E-22D9299D62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0993" y="4033443"/>
            <a:ext cx="17214077" cy="5649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4145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208CBE47-8328-1FD3-1491-CB2A6CA04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4448" y="1806480"/>
            <a:ext cx="8627165" cy="1010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199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Post image">
            <a:extLst>
              <a:ext uri="{FF2B5EF4-FFF2-40B4-BE49-F238E27FC236}">
                <a16:creationId xmlns:a16="http://schemas.microsoft.com/office/drawing/2014/main" id="{BCDF5C99-C865-6D16-AECA-40ECC27BE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5057" y="1718641"/>
            <a:ext cx="16445948" cy="10278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19887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rgbClr val="FAFDFA"/>
      </a:lt1>
      <a:dk2>
        <a:srgbClr val="1B5B59"/>
      </a:dk2>
      <a:lt2>
        <a:srgbClr val="76E691"/>
      </a:lt2>
      <a:accent1>
        <a:srgbClr val="55B077"/>
      </a:accent1>
      <a:accent2>
        <a:srgbClr val="2519FF"/>
      </a:accent2>
      <a:accent3>
        <a:srgbClr val="E1C3FF"/>
      </a:accent3>
      <a:accent4>
        <a:srgbClr val="FCD300"/>
      </a:accent4>
      <a:accent5>
        <a:srgbClr val="FCA50D"/>
      </a:accent5>
      <a:accent6>
        <a:srgbClr val="FC6D19"/>
      </a:accent6>
      <a:hlink>
        <a:srgbClr val="0563C1"/>
      </a:hlink>
      <a:folHlink>
        <a:srgbClr val="954F72"/>
      </a:folHlink>
    </a:clrScheme>
    <a:fontScheme name="Egendefinert 48">
      <a:majorFont>
        <a:latin typeface="Bierstadt"/>
        <a:ea typeface=""/>
        <a:cs typeface=""/>
      </a:majorFont>
      <a:minorFont>
        <a:latin typeface="Bierstadt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vinymail med forretningsslides" id="{45D37182-5D1C-4F31-BFCC-C8FDB3DD7097}" vid="{DBF66EEB-E953-44A7-AB6C-016342AE7A51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9FF92C45177024982CFDF6BB7C74ECF" ma:contentTypeVersion="8" ma:contentTypeDescription="Opprett et nytt dokument." ma:contentTypeScope="" ma:versionID="d9630a623344b0687edf53dd8c600a35">
  <xsd:schema xmlns:xsd="http://www.w3.org/2001/XMLSchema" xmlns:xs="http://www.w3.org/2001/XMLSchema" xmlns:p="http://schemas.microsoft.com/office/2006/metadata/properties" xmlns:ns2="a9e2d238-182c-4131-8991-08eba4aea732" targetNamespace="http://schemas.microsoft.com/office/2006/metadata/properties" ma:root="true" ma:fieldsID="d47462ea9c83de0fc2bc9243aa4286d5" ns2:_="">
    <xsd:import namespace="a9e2d238-182c-4131-8991-08eba4aea7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e2d238-182c-4131-8991-08eba4aea7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755256D-A3E5-4289-B2AF-F9931C2760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D101AC8-0DD6-427E-9EEA-AB044A2BDE54}">
  <ds:schemaRefs>
    <ds:schemaRef ds:uri="a9e2d238-182c-4131-8991-08eba4aea73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56CBF8D-F3DB-4066-98E2-89E36BBC3A55}">
  <ds:schemaRefs>
    <ds:schemaRef ds:uri="a9e2d238-182c-4131-8991-08eba4aea73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12f1bdca-9eec-45f6-a63e-2061b957e8ee}" enabled="0" method="" siteId="{12f1bdca-9eec-45f6-a63e-2061b957e8ee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29</TotalTime>
  <Words>223</Words>
  <Application>Microsoft Macintosh PowerPoint</Application>
  <PresentationFormat>Custom</PresentationFormat>
  <Paragraphs>33</Paragraphs>
  <Slides>3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5" baseType="lpstr">
      <vt:lpstr>Arial</vt:lpstr>
      <vt:lpstr>Bierstadt</vt:lpstr>
      <vt:lpstr>Calibri</vt:lpstr>
      <vt:lpstr>Office-tema</vt:lpstr>
      <vt:lpstr>think-cell Slide</vt:lpstr>
      <vt:lpstr>PowerPoint Presentation</vt:lpstr>
      <vt:lpstr>Datavitenskap og digital forretningsutvikling</vt:lpstr>
      <vt:lpstr>PowerPoint Presentation</vt:lpstr>
      <vt:lpstr>PowerPoint Presentation</vt:lpstr>
      <vt:lpstr>Hvorfor produktifise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Flex-E – Effektiv fleksibilitetsaggregering for Næringsmarkedet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Christian Askvik-Hansen</dc:creator>
  <cp:lastModifiedBy>Ragnvald Nærø</cp:lastModifiedBy>
  <cp:revision>8</cp:revision>
  <dcterms:created xsi:type="dcterms:W3CDTF">2022-01-13T09:19:21Z</dcterms:created>
  <dcterms:modified xsi:type="dcterms:W3CDTF">2023-04-19T10:0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FF92C45177024982CFDF6BB7C74ECF</vt:lpwstr>
  </property>
</Properties>
</file>